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4970" r:id="rId4"/>
  </p:sldMasterIdLst>
  <p:notesMasterIdLst>
    <p:notesMasterId r:id="rId20"/>
  </p:notesMasterIdLst>
  <p:sldIdLst>
    <p:sldId id="2103813174" r:id="rId5"/>
    <p:sldId id="2103813337" r:id="rId6"/>
    <p:sldId id="2103813336" r:id="rId7"/>
    <p:sldId id="2103813345" r:id="rId8"/>
    <p:sldId id="2103813331" r:id="rId9"/>
    <p:sldId id="2103813338" r:id="rId10"/>
    <p:sldId id="346" r:id="rId11"/>
    <p:sldId id="2103813339" r:id="rId12"/>
    <p:sldId id="2103813340" r:id="rId13"/>
    <p:sldId id="2103813341" r:id="rId14"/>
    <p:sldId id="2103813344" r:id="rId15"/>
    <p:sldId id="2103813342" r:id="rId16"/>
    <p:sldId id="2103813343" r:id="rId17"/>
    <p:sldId id="1343" r:id="rId18"/>
    <p:sldId id="27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7"/>
            <p14:sldId id="2103813336"/>
            <p14:sldId id="2103813345"/>
          </p14:sldIdLst>
        </p14:section>
        <p14:section name="Module 1: Template" id="{D2BC3036-AFF2-4A70-B633-C33CF965DF72}">
          <p14:sldIdLst>
            <p14:sldId id="2103813331"/>
            <p14:sldId id="2103813338"/>
            <p14:sldId id="346"/>
            <p14:sldId id="2103813339"/>
            <p14:sldId id="2103813340"/>
            <p14:sldId id="2103813341"/>
            <p14:sldId id="2103813344"/>
            <p14:sldId id="2103813342"/>
            <p14:sldId id="2103813343"/>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683" autoAdjust="0"/>
    <p:restoredTop sz="92136" autoAdjust="0"/>
  </p:normalViewPr>
  <p:slideViewPr>
    <p:cSldViewPr snapToGrid="0">
      <p:cViewPr varScale="1">
        <p:scale>
          <a:sx n="76" d="100"/>
          <a:sy n="76" d="100"/>
        </p:scale>
        <p:origin x="43" y="91"/>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298B794-00FA-42C7-BBEC-69CEE7ED4690}">
      <dgm:prSet/>
      <dgm:spPr/>
      <dgm:t>
        <a:bodyPr/>
        <a:lstStyle/>
        <a:p>
          <a:r>
            <a:rPr lang="en-US" dirty="0"/>
            <a:t>May 3rd – Erin Stellato (Azure Data Studio)</a:t>
          </a:r>
        </a:p>
      </dgm:t>
    </dgm:pt>
    <dgm:pt modelId="{04E4897F-868E-45B3-9BBB-AF0492CBD1DC}" type="parTrans" cxnId="{DFB51E13-B7EA-4A3E-9E77-A5117C9F217C}">
      <dgm:prSet/>
      <dgm:spPr/>
      <dgm:t>
        <a:bodyPr/>
        <a:lstStyle/>
        <a:p>
          <a:endParaRPr lang="en-US"/>
        </a:p>
      </dgm:t>
    </dgm:pt>
    <dgm:pt modelId="{746D85F4-3D7D-4A28-A5BA-63D95AF1E018}" type="sibTrans" cxnId="{DFB51E13-B7EA-4A3E-9E77-A5117C9F217C}">
      <dgm:prSet/>
      <dgm:spPr/>
      <dgm:t>
        <a:bodyPr/>
        <a:lstStyle/>
        <a:p>
          <a:endParaRPr lang="en-US"/>
        </a:p>
      </dgm:t>
    </dgm:pt>
    <dgm:pt modelId="{41C9404A-70C9-4E20-847C-35021087C897}">
      <dgm:prSet/>
      <dgm:spPr/>
      <dgm:t>
        <a:bodyPr/>
        <a:lstStyle/>
        <a:p>
          <a:r>
            <a:rPr lang="en-US"/>
            <a:t>May 10th – Niko Neugebauer (Managed Instances)</a:t>
          </a:r>
        </a:p>
      </dgm:t>
    </dgm:pt>
    <dgm:pt modelId="{B642C5A0-375E-4152-B788-79C400B2F8CB}" type="parTrans" cxnId="{3ECC7517-B6F8-4219-AC2E-BF9E2A7CF17B}">
      <dgm:prSet/>
      <dgm:spPr/>
      <dgm:t>
        <a:bodyPr/>
        <a:lstStyle/>
        <a:p>
          <a:endParaRPr lang="en-US"/>
        </a:p>
      </dgm:t>
    </dgm:pt>
    <dgm:pt modelId="{1F5D2115-F226-4BCE-8AB2-9AD9B35BDB65}" type="sibTrans" cxnId="{3ECC7517-B6F8-4219-AC2E-BF9E2A7CF17B}">
      <dgm:prSet/>
      <dgm:spPr/>
      <dgm:t>
        <a:bodyPr/>
        <a:lstStyle/>
        <a:p>
          <a:endParaRPr lang="en-US"/>
        </a:p>
      </dgm:t>
    </dgm:pt>
    <dgm:pt modelId="{B7124C7A-7533-4F94-9736-FC9F61920634}">
      <dgm:prSet/>
      <dgm:spPr/>
      <dgm:t>
        <a:bodyPr/>
        <a:lstStyle/>
        <a:p>
          <a:r>
            <a:rPr lang="en-US" dirty="0"/>
            <a:t>May 17</a:t>
          </a:r>
          <a:r>
            <a:rPr lang="en-US" baseline="0" dirty="0"/>
            <a:t>th</a:t>
          </a:r>
          <a:r>
            <a:rPr lang="en-US" dirty="0"/>
            <a:t> - Kevin Barlett (Kubernetes)</a:t>
          </a:r>
        </a:p>
      </dgm:t>
    </dgm:pt>
    <dgm:pt modelId="{85DE1C8D-151B-4916-86B5-972C35ACCFC8}" type="parTrans" cxnId="{F649CE3C-ECF7-49C4-B470-92FBF5B4AA10}">
      <dgm:prSet/>
      <dgm:spPr/>
      <dgm:t>
        <a:bodyPr/>
        <a:lstStyle/>
        <a:p>
          <a:endParaRPr lang="en-US"/>
        </a:p>
      </dgm:t>
    </dgm:pt>
    <dgm:pt modelId="{376ABEB8-B8B5-46E0-BC99-9B17253327AC}" type="sibTrans" cxnId="{F649CE3C-ECF7-49C4-B470-92FBF5B4AA10}">
      <dgm:prSet/>
      <dgm:spPr/>
      <dgm:t>
        <a:bodyPr/>
        <a:lstStyle/>
        <a:p>
          <a:endParaRPr lang="en-US"/>
        </a:p>
      </dgm:t>
    </dgm:pt>
    <dgm:pt modelId="{9E0A48A1-5487-44B1-A796-F0D4C3C95041}" type="pres">
      <dgm:prSet presAssocID="{86EB11C7-8E35-496E-8BBA-B5FE5C2DA876}" presName="linear" presStyleCnt="0">
        <dgm:presLayoutVars>
          <dgm:animLvl val="lvl"/>
          <dgm:resizeHandles val="exact"/>
        </dgm:presLayoutVars>
      </dgm:prSet>
      <dgm:spPr/>
    </dgm:pt>
    <dgm:pt modelId="{072EEF3A-2F8B-45BE-97C6-7C963DE187DC}" type="pres">
      <dgm:prSet presAssocID="{F298B794-00FA-42C7-BBEC-69CEE7ED4690}" presName="parentText" presStyleLbl="node1" presStyleIdx="0" presStyleCnt="3">
        <dgm:presLayoutVars>
          <dgm:chMax val="0"/>
          <dgm:bulletEnabled val="1"/>
        </dgm:presLayoutVars>
      </dgm:prSet>
      <dgm:spPr/>
    </dgm:pt>
    <dgm:pt modelId="{E1643317-F00A-4427-A4D7-D38D92234E7F}" type="pres">
      <dgm:prSet presAssocID="{746D85F4-3D7D-4A28-A5BA-63D95AF1E018}" presName="spacer" presStyleCnt="0"/>
      <dgm:spPr/>
    </dgm:pt>
    <dgm:pt modelId="{5931316F-C9E1-44A0-BFBA-118444D10DB6}" type="pres">
      <dgm:prSet presAssocID="{41C9404A-70C9-4E20-847C-35021087C897}" presName="parentText" presStyleLbl="node1" presStyleIdx="1" presStyleCnt="3">
        <dgm:presLayoutVars>
          <dgm:chMax val="0"/>
          <dgm:bulletEnabled val="1"/>
        </dgm:presLayoutVars>
      </dgm:prSet>
      <dgm:spPr/>
    </dgm:pt>
    <dgm:pt modelId="{0A1471B8-947E-4923-B28F-ABFD427BDF0A}" type="pres">
      <dgm:prSet presAssocID="{1F5D2115-F226-4BCE-8AB2-9AD9B35BDB65}" presName="spacer" presStyleCnt="0"/>
      <dgm:spPr/>
    </dgm:pt>
    <dgm:pt modelId="{ED940C22-5650-4FCA-9702-2AB97C1DC50A}" type="pres">
      <dgm:prSet presAssocID="{B7124C7A-7533-4F94-9736-FC9F61920634}" presName="parentText" presStyleLbl="node1" presStyleIdx="2" presStyleCnt="3">
        <dgm:presLayoutVars>
          <dgm:chMax val="0"/>
          <dgm:bulletEnabled val="1"/>
        </dgm:presLayoutVars>
      </dgm:prSet>
      <dgm:spPr/>
    </dgm:pt>
  </dgm:ptLst>
  <dgm:cxnLst>
    <dgm:cxn modelId="{DFB51E13-B7EA-4A3E-9E77-A5117C9F217C}" srcId="{86EB11C7-8E35-496E-8BBA-B5FE5C2DA876}" destId="{F298B794-00FA-42C7-BBEC-69CEE7ED4690}" srcOrd="0" destOrd="0" parTransId="{04E4897F-868E-45B3-9BBB-AF0492CBD1DC}" sibTransId="{746D85F4-3D7D-4A28-A5BA-63D95AF1E018}"/>
    <dgm:cxn modelId="{3ECC7517-B6F8-4219-AC2E-BF9E2A7CF17B}" srcId="{86EB11C7-8E35-496E-8BBA-B5FE5C2DA876}" destId="{41C9404A-70C9-4E20-847C-35021087C897}" srcOrd="1" destOrd="0" parTransId="{B642C5A0-375E-4152-B788-79C400B2F8CB}" sibTransId="{1F5D2115-F226-4BCE-8AB2-9AD9B35BDB65}"/>
    <dgm:cxn modelId="{F649CE3C-ECF7-49C4-B470-92FBF5B4AA10}" srcId="{86EB11C7-8E35-496E-8BBA-B5FE5C2DA876}" destId="{B7124C7A-7533-4F94-9736-FC9F61920634}" srcOrd="2" destOrd="0" parTransId="{85DE1C8D-151B-4916-86B5-972C35ACCFC8}" sibTransId="{376ABEB8-B8B5-46E0-BC99-9B17253327AC}"/>
    <dgm:cxn modelId="{0F2D3D5E-117C-4A09-8058-306AEBEDCDB6}" type="presOf" srcId="{F298B794-00FA-42C7-BBEC-69CEE7ED4690}" destId="{072EEF3A-2F8B-45BE-97C6-7C963DE187DC}" srcOrd="0" destOrd="0" presId="urn:microsoft.com/office/officeart/2005/8/layout/vList2"/>
    <dgm:cxn modelId="{7F680766-B2BF-4A85-9D87-86561E6CD53E}" type="presOf" srcId="{B7124C7A-7533-4F94-9736-FC9F61920634}" destId="{ED940C22-5650-4FCA-9702-2AB97C1DC50A}" srcOrd="0" destOrd="0" presId="urn:microsoft.com/office/officeart/2005/8/layout/vList2"/>
    <dgm:cxn modelId="{BEDC387A-38F7-4610-AC03-06D063867B1D}" type="presOf" srcId="{41C9404A-70C9-4E20-847C-35021087C897}" destId="{5931316F-C9E1-44A0-BFBA-118444D10DB6}" srcOrd="0" destOrd="0" presId="urn:microsoft.com/office/officeart/2005/8/layout/vList2"/>
    <dgm:cxn modelId="{51746E8D-C77F-4E30-B6BE-B9F64C1E86ED}" type="presOf" srcId="{86EB11C7-8E35-496E-8BBA-B5FE5C2DA876}" destId="{9E0A48A1-5487-44B1-A796-F0D4C3C95041}" srcOrd="0" destOrd="0" presId="urn:microsoft.com/office/officeart/2005/8/layout/vList2"/>
    <dgm:cxn modelId="{D75B957E-2B78-4995-82A2-685C3E6D6CF2}" type="presParOf" srcId="{9E0A48A1-5487-44B1-A796-F0D4C3C95041}" destId="{072EEF3A-2F8B-45BE-97C6-7C963DE187DC}" srcOrd="0" destOrd="0" presId="urn:microsoft.com/office/officeart/2005/8/layout/vList2"/>
    <dgm:cxn modelId="{297D17D2-97FD-4565-8413-DE165BBD07AE}" type="presParOf" srcId="{9E0A48A1-5487-44B1-A796-F0D4C3C95041}" destId="{E1643317-F00A-4427-A4D7-D38D92234E7F}" srcOrd="1" destOrd="0" presId="urn:microsoft.com/office/officeart/2005/8/layout/vList2"/>
    <dgm:cxn modelId="{2312D73E-CE5F-417F-908D-BE39DD67E8B7}" type="presParOf" srcId="{9E0A48A1-5487-44B1-A796-F0D4C3C95041}" destId="{5931316F-C9E1-44A0-BFBA-118444D10DB6}" srcOrd="2" destOrd="0" presId="urn:microsoft.com/office/officeart/2005/8/layout/vList2"/>
    <dgm:cxn modelId="{FC16D644-4CE7-4E27-ADA2-B62E08203C10}" type="presParOf" srcId="{9E0A48A1-5487-44B1-A796-F0D4C3C95041}" destId="{0A1471B8-947E-4923-B28F-ABFD427BDF0A}" srcOrd="3" destOrd="0" presId="urn:microsoft.com/office/officeart/2005/8/layout/vList2"/>
    <dgm:cxn modelId="{E15874C2-E146-4E2A-AFBE-35DCF4FF8614}" type="presParOf" srcId="{9E0A48A1-5487-44B1-A796-F0D4C3C95041}" destId="{ED940C22-5650-4FCA-9702-2AB97C1DC50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6EB11C7-8E35-496E-8BBA-B5FE5C2DA876}" type="doc">
      <dgm:prSet loTypeId="urn:microsoft.com/office/officeart/2018/2/layout/IconLabelList" loCatId="icon" qsTypeId="urn:microsoft.com/office/officeart/2005/8/quickstyle/simple1" qsCatId="simple" csTypeId="urn:microsoft.com/office/officeart/2005/8/colors/colorful2" csCatId="colorful" phldr="1"/>
      <dgm:spPr/>
      <dgm:t>
        <a:bodyPr/>
        <a:lstStyle/>
        <a:p>
          <a:endParaRPr lang="en-US"/>
        </a:p>
      </dgm:t>
    </dgm:pt>
    <dgm:pt modelId="{EDE915A1-5AFC-49EE-9AA8-3E6A456DC2AE}">
      <dgm:prSet/>
      <dgm:spPr/>
      <dgm:t>
        <a:bodyPr/>
        <a:lstStyle/>
        <a:p>
          <a:pPr>
            <a:lnSpc>
              <a:spcPct val="100000"/>
            </a:lnSpc>
          </a:pPr>
          <a:r>
            <a:rPr lang="en-US" dirty="0"/>
            <a:t>What is Data Virtualization PolyBase?</a:t>
          </a:r>
        </a:p>
      </dgm:t>
    </dgm:pt>
    <dgm:pt modelId="{29C4E891-DDA5-4A16-AFA7-23C7D344E15E}" type="parTrans" cxnId="{31F4D594-7D4B-44A1-84FF-ACDDF5727AEE}">
      <dgm:prSet/>
      <dgm:spPr/>
      <dgm:t>
        <a:bodyPr/>
        <a:lstStyle/>
        <a:p>
          <a:endParaRPr lang="en-US"/>
        </a:p>
      </dgm:t>
    </dgm:pt>
    <dgm:pt modelId="{2E06FC89-0952-4531-9902-79EB17CB19D2}" type="sibTrans" cxnId="{31F4D594-7D4B-44A1-84FF-ACDDF5727AEE}">
      <dgm:prSet/>
      <dgm:spPr/>
      <dgm:t>
        <a:bodyPr/>
        <a:lstStyle/>
        <a:p>
          <a:endParaRPr lang="en-US"/>
        </a:p>
      </dgm:t>
    </dgm:pt>
    <dgm:pt modelId="{002F0789-DADE-46E6-B2EA-87D5A52D6D27}">
      <dgm:prSet/>
      <dgm:spPr/>
      <dgm:t>
        <a:bodyPr/>
        <a:lstStyle/>
        <a:p>
          <a:pPr>
            <a:lnSpc>
              <a:spcPct val="100000"/>
            </a:lnSpc>
          </a:pPr>
          <a:r>
            <a:rPr lang="en-US" dirty="0"/>
            <a:t>Install and configure PolyBase.</a:t>
          </a:r>
        </a:p>
      </dgm:t>
    </dgm:pt>
    <dgm:pt modelId="{C208045B-7C97-412B-81FD-CDE501506327}" type="parTrans" cxnId="{37A304B4-3F07-46BB-A862-294687666E83}">
      <dgm:prSet/>
      <dgm:spPr/>
      <dgm:t>
        <a:bodyPr/>
        <a:lstStyle/>
        <a:p>
          <a:endParaRPr lang="en-US"/>
        </a:p>
      </dgm:t>
    </dgm:pt>
    <dgm:pt modelId="{70CDCA7B-F407-4D64-869C-F3F7AD13A6E6}" type="sibTrans" cxnId="{37A304B4-3F07-46BB-A862-294687666E83}">
      <dgm:prSet/>
      <dgm:spPr/>
      <dgm:t>
        <a:bodyPr/>
        <a:lstStyle/>
        <a:p>
          <a:endParaRPr lang="en-US"/>
        </a:p>
      </dgm:t>
    </dgm:pt>
    <dgm:pt modelId="{B75D6B6E-5C38-4865-AEDD-1B1E23F97FFE}">
      <dgm:prSet/>
      <dgm:spPr/>
      <dgm:t>
        <a:bodyPr/>
        <a:lstStyle/>
        <a:p>
          <a:pPr>
            <a:lnSpc>
              <a:spcPct val="100000"/>
            </a:lnSpc>
          </a:pPr>
          <a:r>
            <a:rPr lang="en-US" dirty="0"/>
            <a:t>Using PolyBase for Data Virtualization</a:t>
          </a:r>
        </a:p>
      </dgm:t>
    </dgm:pt>
    <dgm:pt modelId="{DF84F72A-BD5E-4948-9B58-F86AE7D72E58}" type="parTrans" cxnId="{54C6FC53-7ACB-4F2E-B210-65C64F952C06}">
      <dgm:prSet/>
      <dgm:spPr/>
      <dgm:t>
        <a:bodyPr/>
        <a:lstStyle/>
        <a:p>
          <a:endParaRPr lang="en-US"/>
        </a:p>
      </dgm:t>
    </dgm:pt>
    <dgm:pt modelId="{BFBD571D-599E-44ED-92F0-EBFCD9F359BA}" type="sibTrans" cxnId="{54C6FC53-7ACB-4F2E-B210-65C64F952C06}">
      <dgm:prSet/>
      <dgm:spPr/>
      <dgm:t>
        <a:bodyPr/>
        <a:lstStyle/>
        <a:p>
          <a:endParaRPr lang="en-US"/>
        </a:p>
      </dgm:t>
    </dgm:pt>
    <dgm:pt modelId="{460F3A56-5698-4CE6-96BE-7484EACC622C}" type="pres">
      <dgm:prSet presAssocID="{86EB11C7-8E35-496E-8BBA-B5FE5C2DA876}" presName="root" presStyleCnt="0">
        <dgm:presLayoutVars>
          <dgm:dir/>
          <dgm:resizeHandles val="exact"/>
        </dgm:presLayoutVars>
      </dgm:prSet>
      <dgm:spPr/>
    </dgm:pt>
    <dgm:pt modelId="{BFB8D0D2-03F5-439E-A171-AB0C4B90A053}" type="pres">
      <dgm:prSet presAssocID="{EDE915A1-5AFC-49EE-9AA8-3E6A456DC2AE}" presName="compNode" presStyleCnt="0"/>
      <dgm:spPr/>
    </dgm:pt>
    <dgm:pt modelId="{F984DAA8-C20E-4E77-9623-18A08782A52F}" type="pres">
      <dgm:prSet presAssocID="{EDE915A1-5AFC-49EE-9AA8-3E6A456DC2AE}"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cript_F03A"/>
        </a:ext>
      </dgm:extLst>
    </dgm:pt>
    <dgm:pt modelId="{895A6DD1-1599-458D-9A5A-F900AEB0C645}" type="pres">
      <dgm:prSet presAssocID="{EDE915A1-5AFC-49EE-9AA8-3E6A456DC2AE}" presName="spaceRect" presStyleCnt="0"/>
      <dgm:spPr/>
    </dgm:pt>
    <dgm:pt modelId="{51BB6BB2-8C4D-4842-A094-AD80FDCB3453}" type="pres">
      <dgm:prSet presAssocID="{EDE915A1-5AFC-49EE-9AA8-3E6A456DC2AE}" presName="textRect" presStyleLbl="revTx" presStyleIdx="0" presStyleCnt="3">
        <dgm:presLayoutVars>
          <dgm:chMax val="1"/>
          <dgm:chPref val="1"/>
        </dgm:presLayoutVars>
      </dgm:prSet>
      <dgm:spPr/>
    </dgm:pt>
    <dgm:pt modelId="{0F914B98-85C7-4F31-B0EC-38208561C9B7}" type="pres">
      <dgm:prSet presAssocID="{2E06FC89-0952-4531-9902-79EB17CB19D2}" presName="sibTrans" presStyleCnt="0"/>
      <dgm:spPr/>
    </dgm:pt>
    <dgm:pt modelId="{5F9AB725-E0A0-4C88-BEF6-057412A7CB6A}" type="pres">
      <dgm:prSet presAssocID="{002F0789-DADE-46E6-B2EA-87D5A52D6D27}" presName="compNode" presStyleCnt="0"/>
      <dgm:spPr/>
    </dgm:pt>
    <dgm:pt modelId="{B1E59602-E897-4E06-9C42-9427550A5869}" type="pres">
      <dgm:prSet presAssocID="{002F0789-DADE-46E6-B2EA-87D5A52D6D2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ear"/>
        </a:ext>
      </dgm:extLst>
    </dgm:pt>
    <dgm:pt modelId="{B7CAAC47-F92B-4EA4-9C05-D75B60EF7235}" type="pres">
      <dgm:prSet presAssocID="{002F0789-DADE-46E6-B2EA-87D5A52D6D27}" presName="spaceRect" presStyleCnt="0"/>
      <dgm:spPr/>
    </dgm:pt>
    <dgm:pt modelId="{0F535A39-899A-42C7-8BCA-F4D97C62C68C}" type="pres">
      <dgm:prSet presAssocID="{002F0789-DADE-46E6-B2EA-87D5A52D6D27}" presName="textRect" presStyleLbl="revTx" presStyleIdx="1" presStyleCnt="3">
        <dgm:presLayoutVars>
          <dgm:chMax val="1"/>
          <dgm:chPref val="1"/>
        </dgm:presLayoutVars>
      </dgm:prSet>
      <dgm:spPr/>
    </dgm:pt>
    <dgm:pt modelId="{D0DE2B6E-E4E5-4A1B-BCB5-198823F39334}" type="pres">
      <dgm:prSet presAssocID="{70CDCA7B-F407-4D64-869C-F3F7AD13A6E6}" presName="sibTrans" presStyleCnt="0"/>
      <dgm:spPr/>
    </dgm:pt>
    <dgm:pt modelId="{0A283AD5-2344-4BC3-A676-FC453CADC646}" type="pres">
      <dgm:prSet presAssocID="{B75D6B6E-5C38-4865-AEDD-1B1E23F97FFE}" presName="compNode" presStyleCnt="0"/>
      <dgm:spPr/>
    </dgm:pt>
    <dgm:pt modelId="{7B4EC5AE-0984-4C26-A64F-9BE2DDF33AC6}" type="pres">
      <dgm:prSet presAssocID="{B75D6B6E-5C38-4865-AEDD-1B1E23F97FF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arChartHorizontal_E9EB"/>
        </a:ext>
      </dgm:extLst>
    </dgm:pt>
    <dgm:pt modelId="{0AECE446-93A0-47CA-A1C9-2724D1A75124}" type="pres">
      <dgm:prSet presAssocID="{B75D6B6E-5C38-4865-AEDD-1B1E23F97FFE}" presName="spaceRect" presStyleCnt="0"/>
      <dgm:spPr/>
    </dgm:pt>
    <dgm:pt modelId="{5C3A8CD7-2185-46C6-8DCE-2C6E523DC4D8}" type="pres">
      <dgm:prSet presAssocID="{B75D6B6E-5C38-4865-AEDD-1B1E23F97FFE}" presName="textRect" presStyleLbl="revTx" presStyleIdx="2" presStyleCnt="3">
        <dgm:presLayoutVars>
          <dgm:chMax val="1"/>
          <dgm:chPref val="1"/>
        </dgm:presLayoutVars>
      </dgm:prSet>
      <dgm:spPr/>
    </dgm:pt>
  </dgm:ptLst>
  <dgm:cxnLst>
    <dgm:cxn modelId="{54C6FC53-7ACB-4F2E-B210-65C64F952C06}" srcId="{86EB11C7-8E35-496E-8BBA-B5FE5C2DA876}" destId="{B75D6B6E-5C38-4865-AEDD-1B1E23F97FFE}" srcOrd="2" destOrd="0" parTransId="{DF84F72A-BD5E-4948-9B58-F86AE7D72E58}" sibTransId="{BFBD571D-599E-44ED-92F0-EBFCD9F359BA}"/>
    <dgm:cxn modelId="{31F4D594-7D4B-44A1-84FF-ACDDF5727AEE}" srcId="{86EB11C7-8E35-496E-8BBA-B5FE5C2DA876}" destId="{EDE915A1-5AFC-49EE-9AA8-3E6A456DC2AE}" srcOrd="0" destOrd="0" parTransId="{29C4E891-DDA5-4A16-AFA7-23C7D344E15E}" sibTransId="{2E06FC89-0952-4531-9902-79EB17CB19D2}"/>
    <dgm:cxn modelId="{C5FD5A95-F93F-4420-A29C-8B3D4160155A}" type="presOf" srcId="{002F0789-DADE-46E6-B2EA-87D5A52D6D27}" destId="{0F535A39-899A-42C7-8BCA-F4D97C62C68C}" srcOrd="0" destOrd="0" presId="urn:microsoft.com/office/officeart/2018/2/layout/IconLabelList"/>
    <dgm:cxn modelId="{633F54A3-D899-4C9B-A4F2-F3BBB1B07D20}" type="presOf" srcId="{B75D6B6E-5C38-4865-AEDD-1B1E23F97FFE}" destId="{5C3A8CD7-2185-46C6-8DCE-2C6E523DC4D8}" srcOrd="0" destOrd="0" presId="urn:microsoft.com/office/officeart/2018/2/layout/IconLabelList"/>
    <dgm:cxn modelId="{37A304B4-3F07-46BB-A862-294687666E83}" srcId="{86EB11C7-8E35-496E-8BBA-B5FE5C2DA876}" destId="{002F0789-DADE-46E6-B2EA-87D5A52D6D27}" srcOrd="1" destOrd="0" parTransId="{C208045B-7C97-412B-81FD-CDE501506327}" sibTransId="{70CDCA7B-F407-4D64-869C-F3F7AD13A6E6}"/>
    <dgm:cxn modelId="{67371FE3-C836-4726-ADE2-D6ADD41BBBAA}" type="presOf" srcId="{86EB11C7-8E35-496E-8BBA-B5FE5C2DA876}" destId="{460F3A56-5698-4CE6-96BE-7484EACC622C}" srcOrd="0" destOrd="0" presId="urn:microsoft.com/office/officeart/2018/2/layout/IconLabelList"/>
    <dgm:cxn modelId="{EFAE57F0-F75D-4905-A6FA-4C4B55BAA7DC}" type="presOf" srcId="{EDE915A1-5AFC-49EE-9AA8-3E6A456DC2AE}" destId="{51BB6BB2-8C4D-4842-A094-AD80FDCB3453}" srcOrd="0" destOrd="0" presId="urn:microsoft.com/office/officeart/2018/2/layout/IconLabelList"/>
    <dgm:cxn modelId="{A17BA48E-B05A-41A5-9445-2B5E3A37B594}" type="presParOf" srcId="{460F3A56-5698-4CE6-96BE-7484EACC622C}" destId="{BFB8D0D2-03F5-439E-A171-AB0C4B90A053}" srcOrd="0" destOrd="0" presId="urn:microsoft.com/office/officeart/2018/2/layout/IconLabelList"/>
    <dgm:cxn modelId="{D2F35B73-0773-49E0-BA58-BF30DD19F433}" type="presParOf" srcId="{BFB8D0D2-03F5-439E-A171-AB0C4B90A053}" destId="{F984DAA8-C20E-4E77-9623-18A08782A52F}" srcOrd="0" destOrd="0" presId="urn:microsoft.com/office/officeart/2018/2/layout/IconLabelList"/>
    <dgm:cxn modelId="{83EF7AD2-6BD4-4FA3-800A-3860EE5EA5C2}" type="presParOf" srcId="{BFB8D0D2-03F5-439E-A171-AB0C4B90A053}" destId="{895A6DD1-1599-458D-9A5A-F900AEB0C645}" srcOrd="1" destOrd="0" presId="urn:microsoft.com/office/officeart/2018/2/layout/IconLabelList"/>
    <dgm:cxn modelId="{F774C8CD-ED3F-4BFE-874E-9F0888DE35E8}" type="presParOf" srcId="{BFB8D0D2-03F5-439E-A171-AB0C4B90A053}" destId="{51BB6BB2-8C4D-4842-A094-AD80FDCB3453}" srcOrd="2" destOrd="0" presId="urn:microsoft.com/office/officeart/2018/2/layout/IconLabelList"/>
    <dgm:cxn modelId="{05AF0A97-6858-4DD8-9FAD-653D68CD131E}" type="presParOf" srcId="{460F3A56-5698-4CE6-96BE-7484EACC622C}" destId="{0F914B98-85C7-4F31-B0EC-38208561C9B7}" srcOrd="1" destOrd="0" presId="urn:microsoft.com/office/officeart/2018/2/layout/IconLabelList"/>
    <dgm:cxn modelId="{BE2F1E22-51BE-4E04-9E35-265095E93700}" type="presParOf" srcId="{460F3A56-5698-4CE6-96BE-7484EACC622C}" destId="{5F9AB725-E0A0-4C88-BEF6-057412A7CB6A}" srcOrd="2" destOrd="0" presId="urn:microsoft.com/office/officeart/2018/2/layout/IconLabelList"/>
    <dgm:cxn modelId="{4970CEF5-7530-403C-AF7B-A33402E2A11B}" type="presParOf" srcId="{5F9AB725-E0A0-4C88-BEF6-057412A7CB6A}" destId="{B1E59602-E897-4E06-9C42-9427550A5869}" srcOrd="0" destOrd="0" presId="urn:microsoft.com/office/officeart/2018/2/layout/IconLabelList"/>
    <dgm:cxn modelId="{A3BBAF92-30FF-4D98-A069-4E47D264E509}" type="presParOf" srcId="{5F9AB725-E0A0-4C88-BEF6-057412A7CB6A}" destId="{B7CAAC47-F92B-4EA4-9C05-D75B60EF7235}" srcOrd="1" destOrd="0" presId="urn:microsoft.com/office/officeart/2018/2/layout/IconLabelList"/>
    <dgm:cxn modelId="{3C2FB93D-EC91-4F62-BFB0-D9FC9643F6DE}" type="presParOf" srcId="{5F9AB725-E0A0-4C88-BEF6-057412A7CB6A}" destId="{0F535A39-899A-42C7-8BCA-F4D97C62C68C}" srcOrd="2" destOrd="0" presId="urn:microsoft.com/office/officeart/2018/2/layout/IconLabelList"/>
    <dgm:cxn modelId="{07813D1C-C8CA-4C22-89EB-50447FDD0CA8}" type="presParOf" srcId="{460F3A56-5698-4CE6-96BE-7484EACC622C}" destId="{D0DE2B6E-E4E5-4A1B-BCB5-198823F39334}" srcOrd="3" destOrd="0" presId="urn:microsoft.com/office/officeart/2018/2/layout/IconLabelList"/>
    <dgm:cxn modelId="{D915A9EB-F770-48F7-B8EA-12027D59C400}" type="presParOf" srcId="{460F3A56-5698-4CE6-96BE-7484EACC622C}" destId="{0A283AD5-2344-4BC3-A676-FC453CADC646}" srcOrd="4" destOrd="0" presId="urn:microsoft.com/office/officeart/2018/2/layout/IconLabelList"/>
    <dgm:cxn modelId="{E2B05F19-7509-4199-8D36-C8A7C3506658}" type="presParOf" srcId="{0A283AD5-2344-4BC3-A676-FC453CADC646}" destId="{7B4EC5AE-0984-4C26-A64F-9BE2DDF33AC6}" srcOrd="0" destOrd="0" presId="urn:microsoft.com/office/officeart/2018/2/layout/IconLabelList"/>
    <dgm:cxn modelId="{375535D8-0982-447D-AB92-FD69CDEF6E3B}" type="presParOf" srcId="{0A283AD5-2344-4BC3-A676-FC453CADC646}" destId="{0AECE446-93A0-47CA-A1C9-2724D1A75124}" srcOrd="1" destOrd="0" presId="urn:microsoft.com/office/officeart/2018/2/layout/IconLabelList"/>
    <dgm:cxn modelId="{39D6A8F4-A518-4C1F-87FF-F3CE9E13D95A}" type="presParOf" srcId="{0A283AD5-2344-4BC3-A676-FC453CADC646}" destId="{5C3A8CD7-2185-46C6-8DCE-2C6E523DC4D8}"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E94C76-B11B-4E2C-9168-13137B1F76D6}"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9D7B58E2-B335-4062-B837-6C9882337CE5}">
      <dgm:prSet custT="1"/>
      <dgm:spPr/>
      <dgm:t>
        <a:bodyPr/>
        <a:lstStyle/>
        <a:p>
          <a:r>
            <a:rPr lang="en-US" sz="2000" b="0" i="0" dirty="0"/>
            <a:t>PolyBase enables your instance to query remote data with T-SQL directly from SQL Server. </a:t>
          </a:r>
          <a:endParaRPr lang="en-US" sz="2000" dirty="0"/>
        </a:p>
      </dgm:t>
    </dgm:pt>
    <dgm:pt modelId="{E5BA3515-AB29-4F08-B3CB-4B9058A1C0C0}" type="parTrans" cxnId="{68CAB1ED-66C2-431A-92B8-96F53803C661}">
      <dgm:prSet/>
      <dgm:spPr/>
      <dgm:t>
        <a:bodyPr/>
        <a:lstStyle/>
        <a:p>
          <a:endParaRPr lang="en-US"/>
        </a:p>
      </dgm:t>
    </dgm:pt>
    <dgm:pt modelId="{9FBC798D-9BA1-45B9-87B5-F7EC4062B9B6}" type="sibTrans" cxnId="{68CAB1ED-66C2-431A-92B8-96F53803C661}">
      <dgm:prSet/>
      <dgm:spPr/>
      <dgm:t>
        <a:bodyPr/>
        <a:lstStyle/>
        <a:p>
          <a:endParaRPr lang="en-US"/>
        </a:p>
      </dgm:t>
    </dgm:pt>
    <dgm:pt modelId="{A27BE872-2043-4487-B583-FE39CC5A09BE}">
      <dgm:prSet custT="1"/>
      <dgm:spPr/>
      <dgm:t>
        <a:bodyPr/>
        <a:lstStyle/>
        <a:p>
          <a:r>
            <a:rPr lang="en-US" sz="2000" b="0" i="0" dirty="0"/>
            <a:t>Connect to SQL Server, Azure Storage, Oracle, Teradata, MongoDB, Hadoop clusters, and Cosmos DB without the need for additional client connection software.</a:t>
          </a:r>
          <a:endParaRPr lang="en-US" sz="2000" dirty="0"/>
        </a:p>
      </dgm:t>
    </dgm:pt>
    <dgm:pt modelId="{E70A7FC1-AEB6-44D2-8FF1-F0130ADBBA57}" type="parTrans" cxnId="{C3CC714D-E8EC-431E-BBB4-30FB54291914}">
      <dgm:prSet/>
      <dgm:spPr/>
      <dgm:t>
        <a:bodyPr/>
        <a:lstStyle/>
        <a:p>
          <a:endParaRPr lang="en-US"/>
        </a:p>
      </dgm:t>
    </dgm:pt>
    <dgm:pt modelId="{FB7139EF-D2E0-48CC-AA3E-3DB78A463349}" type="sibTrans" cxnId="{C3CC714D-E8EC-431E-BBB4-30FB54291914}">
      <dgm:prSet/>
      <dgm:spPr/>
      <dgm:t>
        <a:bodyPr/>
        <a:lstStyle/>
        <a:p>
          <a:endParaRPr lang="en-US"/>
        </a:p>
      </dgm:t>
    </dgm:pt>
    <dgm:pt modelId="{5C55EE34-1C8A-4279-8DB6-5C0F7F554327}">
      <dgm:prSet custT="1"/>
      <dgm:spPr/>
      <dgm:t>
        <a:bodyPr/>
        <a:lstStyle/>
        <a:p>
          <a:r>
            <a:rPr lang="en-US" sz="2000" b="0" i="0" dirty="0"/>
            <a:t>You can connect to additional providers using third-party ODBC drivers.</a:t>
          </a:r>
          <a:endParaRPr lang="en-US" sz="2000" dirty="0"/>
        </a:p>
      </dgm:t>
    </dgm:pt>
    <dgm:pt modelId="{E059FAF7-5D2F-476D-B9A1-6F422F32001D}" type="parTrans" cxnId="{AC09F910-F4BC-42E6-950E-85838874E82A}">
      <dgm:prSet/>
      <dgm:spPr/>
      <dgm:t>
        <a:bodyPr/>
        <a:lstStyle/>
        <a:p>
          <a:endParaRPr lang="en-US"/>
        </a:p>
      </dgm:t>
    </dgm:pt>
    <dgm:pt modelId="{495CFACB-9A71-41F8-9346-FE7C6992CCEF}" type="sibTrans" cxnId="{AC09F910-F4BC-42E6-950E-85838874E82A}">
      <dgm:prSet/>
      <dgm:spPr/>
      <dgm:t>
        <a:bodyPr/>
        <a:lstStyle/>
        <a:p>
          <a:endParaRPr lang="en-US"/>
        </a:p>
      </dgm:t>
    </dgm:pt>
    <dgm:pt modelId="{571FDED3-9401-4584-AAA1-5131B5473B2F}">
      <dgm:prSet custT="1"/>
      <dgm:spPr/>
      <dgm:t>
        <a:bodyPr/>
        <a:lstStyle/>
        <a:p>
          <a:r>
            <a:rPr lang="en-US" sz="2000" b="0" i="0" dirty="0"/>
            <a:t>Allows T-SQL queries to join the data from external sources to relational tables</a:t>
          </a:r>
          <a:endParaRPr lang="en-US" sz="2000" dirty="0"/>
        </a:p>
      </dgm:t>
    </dgm:pt>
    <dgm:pt modelId="{49AEC7CA-6404-4C2D-B859-6B90A772C852}" type="parTrans" cxnId="{BDB23260-4EFF-4EF7-97C4-C6E1251DACE5}">
      <dgm:prSet/>
      <dgm:spPr/>
      <dgm:t>
        <a:bodyPr/>
        <a:lstStyle/>
        <a:p>
          <a:endParaRPr lang="en-US"/>
        </a:p>
      </dgm:t>
    </dgm:pt>
    <dgm:pt modelId="{779CA8FD-1EF3-47F6-AAD7-01155A0803C8}" type="sibTrans" cxnId="{BDB23260-4EFF-4EF7-97C4-C6E1251DACE5}">
      <dgm:prSet/>
      <dgm:spPr/>
      <dgm:t>
        <a:bodyPr/>
        <a:lstStyle/>
        <a:p>
          <a:endParaRPr lang="en-US"/>
        </a:p>
      </dgm:t>
    </dgm:pt>
    <dgm:pt modelId="{BA9B297E-73B3-42AF-BF6A-89F7282CCAD4}">
      <dgm:prSet custT="1"/>
      <dgm:spPr/>
      <dgm:t>
        <a:bodyPr/>
        <a:lstStyle/>
        <a:p>
          <a:r>
            <a:rPr lang="en-US" sz="2000" b="0" i="0" dirty="0"/>
            <a:t>Data virtualization allows the data to stay in its original location and format</a:t>
          </a:r>
          <a:endParaRPr lang="en-US" sz="2000" dirty="0"/>
        </a:p>
      </dgm:t>
    </dgm:pt>
    <dgm:pt modelId="{668564C6-7C66-4DA3-B0B8-25EC3849D01D}" type="parTrans" cxnId="{2D73C1AE-C8FD-40E6-9D2E-FA45E0E26F95}">
      <dgm:prSet/>
      <dgm:spPr/>
      <dgm:t>
        <a:bodyPr/>
        <a:lstStyle/>
        <a:p>
          <a:endParaRPr lang="en-US"/>
        </a:p>
      </dgm:t>
    </dgm:pt>
    <dgm:pt modelId="{0A56A50E-C4D6-475F-BAE1-7FCFA2B4187E}" type="sibTrans" cxnId="{2D73C1AE-C8FD-40E6-9D2E-FA45E0E26F95}">
      <dgm:prSet/>
      <dgm:spPr/>
      <dgm:t>
        <a:bodyPr/>
        <a:lstStyle/>
        <a:p>
          <a:endParaRPr lang="en-US"/>
        </a:p>
      </dgm:t>
    </dgm:pt>
    <dgm:pt modelId="{FE0D8F20-10A9-4F54-AF6E-5558C2B4D175}">
      <dgm:prSet custT="1"/>
      <dgm:spPr/>
      <dgm:t>
        <a:bodyPr/>
        <a:lstStyle/>
        <a:p>
          <a:r>
            <a:rPr lang="en-US" sz="2000" b="0" i="0" dirty="0"/>
            <a:t>Minimizes the need for ETL processes for data movement.</a:t>
          </a:r>
          <a:endParaRPr lang="en-US" sz="2000" dirty="0"/>
        </a:p>
      </dgm:t>
    </dgm:pt>
    <dgm:pt modelId="{3716A1C2-706A-44E9-9B34-D7C570A6C455}" type="parTrans" cxnId="{FBB43916-F752-422D-938E-B358A201CBE5}">
      <dgm:prSet/>
      <dgm:spPr/>
      <dgm:t>
        <a:bodyPr/>
        <a:lstStyle/>
        <a:p>
          <a:endParaRPr lang="en-US"/>
        </a:p>
      </dgm:t>
    </dgm:pt>
    <dgm:pt modelId="{A2297A73-B8E7-4BE7-995F-E9C475013E79}" type="sibTrans" cxnId="{FBB43916-F752-422D-938E-B358A201CBE5}">
      <dgm:prSet/>
      <dgm:spPr/>
      <dgm:t>
        <a:bodyPr/>
        <a:lstStyle/>
        <a:p>
          <a:endParaRPr lang="en-US"/>
        </a:p>
      </dgm:t>
    </dgm:pt>
    <dgm:pt modelId="{C6262E3B-6FF1-4DB7-AD82-13F266D51C05}" type="pres">
      <dgm:prSet presAssocID="{56E94C76-B11B-4E2C-9168-13137B1F76D6}" presName="linear" presStyleCnt="0">
        <dgm:presLayoutVars>
          <dgm:animLvl val="lvl"/>
          <dgm:resizeHandles val="exact"/>
        </dgm:presLayoutVars>
      </dgm:prSet>
      <dgm:spPr/>
    </dgm:pt>
    <dgm:pt modelId="{1307D6CB-67CE-4262-8F87-72E777D66D71}" type="pres">
      <dgm:prSet presAssocID="{9D7B58E2-B335-4062-B837-6C9882337CE5}" presName="parentText" presStyleLbl="node1" presStyleIdx="0" presStyleCnt="6">
        <dgm:presLayoutVars>
          <dgm:chMax val="0"/>
          <dgm:bulletEnabled val="1"/>
        </dgm:presLayoutVars>
      </dgm:prSet>
      <dgm:spPr/>
    </dgm:pt>
    <dgm:pt modelId="{B9AD23B7-57ED-4781-8895-31B38DA01357}" type="pres">
      <dgm:prSet presAssocID="{9FBC798D-9BA1-45B9-87B5-F7EC4062B9B6}" presName="spacer" presStyleCnt="0"/>
      <dgm:spPr/>
    </dgm:pt>
    <dgm:pt modelId="{04708ADC-40C5-42F5-B72E-3B219B1F3581}" type="pres">
      <dgm:prSet presAssocID="{A27BE872-2043-4487-B583-FE39CC5A09BE}" presName="parentText" presStyleLbl="node1" presStyleIdx="1" presStyleCnt="6">
        <dgm:presLayoutVars>
          <dgm:chMax val="0"/>
          <dgm:bulletEnabled val="1"/>
        </dgm:presLayoutVars>
      </dgm:prSet>
      <dgm:spPr/>
    </dgm:pt>
    <dgm:pt modelId="{214814D1-BB9A-45C0-A68A-C8858FA43936}" type="pres">
      <dgm:prSet presAssocID="{FB7139EF-D2E0-48CC-AA3E-3DB78A463349}" presName="spacer" presStyleCnt="0"/>
      <dgm:spPr/>
    </dgm:pt>
    <dgm:pt modelId="{A3A24161-5A15-4F32-B422-CC36BC970BCA}" type="pres">
      <dgm:prSet presAssocID="{5C55EE34-1C8A-4279-8DB6-5C0F7F554327}" presName="parentText" presStyleLbl="node1" presStyleIdx="2" presStyleCnt="6">
        <dgm:presLayoutVars>
          <dgm:chMax val="0"/>
          <dgm:bulletEnabled val="1"/>
        </dgm:presLayoutVars>
      </dgm:prSet>
      <dgm:spPr/>
    </dgm:pt>
    <dgm:pt modelId="{84B99A2B-C0C3-4487-A92E-B321A489B068}" type="pres">
      <dgm:prSet presAssocID="{495CFACB-9A71-41F8-9346-FE7C6992CCEF}" presName="spacer" presStyleCnt="0"/>
      <dgm:spPr/>
    </dgm:pt>
    <dgm:pt modelId="{E635548D-5E90-40EE-84F3-D7A7431BA8A6}" type="pres">
      <dgm:prSet presAssocID="{571FDED3-9401-4584-AAA1-5131B5473B2F}" presName="parentText" presStyleLbl="node1" presStyleIdx="3" presStyleCnt="6">
        <dgm:presLayoutVars>
          <dgm:chMax val="0"/>
          <dgm:bulletEnabled val="1"/>
        </dgm:presLayoutVars>
      </dgm:prSet>
      <dgm:spPr/>
    </dgm:pt>
    <dgm:pt modelId="{AFB1331F-7E58-4492-987A-ED3B581453CC}" type="pres">
      <dgm:prSet presAssocID="{779CA8FD-1EF3-47F6-AAD7-01155A0803C8}" presName="spacer" presStyleCnt="0"/>
      <dgm:spPr/>
    </dgm:pt>
    <dgm:pt modelId="{5EC2157C-1894-4821-A81D-694DC6D4B550}" type="pres">
      <dgm:prSet presAssocID="{BA9B297E-73B3-42AF-BF6A-89F7282CCAD4}" presName="parentText" presStyleLbl="node1" presStyleIdx="4" presStyleCnt="6">
        <dgm:presLayoutVars>
          <dgm:chMax val="0"/>
          <dgm:bulletEnabled val="1"/>
        </dgm:presLayoutVars>
      </dgm:prSet>
      <dgm:spPr/>
    </dgm:pt>
    <dgm:pt modelId="{053CEC7D-F30F-49F5-9CF6-4215F0DC3BE9}" type="pres">
      <dgm:prSet presAssocID="{0A56A50E-C4D6-475F-BAE1-7FCFA2B4187E}" presName="spacer" presStyleCnt="0"/>
      <dgm:spPr/>
    </dgm:pt>
    <dgm:pt modelId="{F2DBCA27-9514-4902-8831-1B0A55A0638A}" type="pres">
      <dgm:prSet presAssocID="{FE0D8F20-10A9-4F54-AF6E-5558C2B4D175}" presName="parentText" presStyleLbl="node1" presStyleIdx="5" presStyleCnt="6">
        <dgm:presLayoutVars>
          <dgm:chMax val="0"/>
          <dgm:bulletEnabled val="1"/>
        </dgm:presLayoutVars>
      </dgm:prSet>
      <dgm:spPr/>
    </dgm:pt>
  </dgm:ptLst>
  <dgm:cxnLst>
    <dgm:cxn modelId="{AC09F910-F4BC-42E6-950E-85838874E82A}" srcId="{56E94C76-B11B-4E2C-9168-13137B1F76D6}" destId="{5C55EE34-1C8A-4279-8DB6-5C0F7F554327}" srcOrd="2" destOrd="0" parTransId="{E059FAF7-5D2F-476D-B9A1-6F422F32001D}" sibTransId="{495CFACB-9A71-41F8-9346-FE7C6992CCEF}"/>
    <dgm:cxn modelId="{FBB43916-F752-422D-938E-B358A201CBE5}" srcId="{56E94C76-B11B-4E2C-9168-13137B1F76D6}" destId="{FE0D8F20-10A9-4F54-AF6E-5558C2B4D175}" srcOrd="5" destOrd="0" parTransId="{3716A1C2-706A-44E9-9B34-D7C570A6C455}" sibTransId="{A2297A73-B8E7-4BE7-995F-E9C475013E79}"/>
    <dgm:cxn modelId="{23745723-D5C3-442E-B868-9AB4028898E1}" type="presOf" srcId="{BA9B297E-73B3-42AF-BF6A-89F7282CCAD4}" destId="{5EC2157C-1894-4821-A81D-694DC6D4B550}" srcOrd="0" destOrd="0" presId="urn:microsoft.com/office/officeart/2005/8/layout/vList2"/>
    <dgm:cxn modelId="{BDB23260-4EFF-4EF7-97C4-C6E1251DACE5}" srcId="{56E94C76-B11B-4E2C-9168-13137B1F76D6}" destId="{571FDED3-9401-4584-AAA1-5131B5473B2F}" srcOrd="3" destOrd="0" parTransId="{49AEC7CA-6404-4C2D-B859-6B90A772C852}" sibTransId="{779CA8FD-1EF3-47F6-AAD7-01155A0803C8}"/>
    <dgm:cxn modelId="{BC3D8264-C9E6-44B8-9D91-D83778F2A255}" type="presOf" srcId="{56E94C76-B11B-4E2C-9168-13137B1F76D6}" destId="{C6262E3B-6FF1-4DB7-AD82-13F266D51C05}" srcOrd="0" destOrd="0" presId="urn:microsoft.com/office/officeart/2005/8/layout/vList2"/>
    <dgm:cxn modelId="{C3CC714D-E8EC-431E-BBB4-30FB54291914}" srcId="{56E94C76-B11B-4E2C-9168-13137B1F76D6}" destId="{A27BE872-2043-4487-B583-FE39CC5A09BE}" srcOrd="1" destOrd="0" parTransId="{E70A7FC1-AEB6-44D2-8FF1-F0130ADBBA57}" sibTransId="{FB7139EF-D2E0-48CC-AA3E-3DB78A463349}"/>
    <dgm:cxn modelId="{61D1C27E-211F-4234-B114-6B6183B99E47}" type="presOf" srcId="{FE0D8F20-10A9-4F54-AF6E-5558C2B4D175}" destId="{F2DBCA27-9514-4902-8831-1B0A55A0638A}" srcOrd="0" destOrd="0" presId="urn:microsoft.com/office/officeart/2005/8/layout/vList2"/>
    <dgm:cxn modelId="{2D73C1AE-C8FD-40E6-9D2E-FA45E0E26F95}" srcId="{56E94C76-B11B-4E2C-9168-13137B1F76D6}" destId="{BA9B297E-73B3-42AF-BF6A-89F7282CCAD4}" srcOrd="4" destOrd="0" parTransId="{668564C6-7C66-4DA3-B0B8-25EC3849D01D}" sibTransId="{0A56A50E-C4D6-475F-BAE1-7FCFA2B4187E}"/>
    <dgm:cxn modelId="{9103ADB3-70B5-4C0D-960A-8D2BC85C0EBF}" type="presOf" srcId="{A27BE872-2043-4487-B583-FE39CC5A09BE}" destId="{04708ADC-40C5-42F5-B72E-3B219B1F3581}" srcOrd="0" destOrd="0" presId="urn:microsoft.com/office/officeart/2005/8/layout/vList2"/>
    <dgm:cxn modelId="{D306A9CD-FE9A-4AFD-B0F9-B8DA492CE9A7}" type="presOf" srcId="{9D7B58E2-B335-4062-B837-6C9882337CE5}" destId="{1307D6CB-67CE-4262-8F87-72E777D66D71}" srcOrd="0" destOrd="0" presId="urn:microsoft.com/office/officeart/2005/8/layout/vList2"/>
    <dgm:cxn modelId="{89CD92D1-5883-4D6A-84E5-1B9EBC2EC07E}" type="presOf" srcId="{571FDED3-9401-4584-AAA1-5131B5473B2F}" destId="{E635548D-5E90-40EE-84F3-D7A7431BA8A6}" srcOrd="0" destOrd="0" presId="urn:microsoft.com/office/officeart/2005/8/layout/vList2"/>
    <dgm:cxn modelId="{9ADA28E1-0659-44F8-9ACD-6267D351FF56}" type="presOf" srcId="{5C55EE34-1C8A-4279-8DB6-5C0F7F554327}" destId="{A3A24161-5A15-4F32-B422-CC36BC970BCA}" srcOrd="0" destOrd="0" presId="urn:microsoft.com/office/officeart/2005/8/layout/vList2"/>
    <dgm:cxn modelId="{68CAB1ED-66C2-431A-92B8-96F53803C661}" srcId="{56E94C76-B11B-4E2C-9168-13137B1F76D6}" destId="{9D7B58E2-B335-4062-B837-6C9882337CE5}" srcOrd="0" destOrd="0" parTransId="{E5BA3515-AB29-4F08-B3CB-4B9058A1C0C0}" sibTransId="{9FBC798D-9BA1-45B9-87B5-F7EC4062B9B6}"/>
    <dgm:cxn modelId="{0AD26411-621A-4894-A87A-6ABAE0B3E88F}" type="presParOf" srcId="{C6262E3B-6FF1-4DB7-AD82-13F266D51C05}" destId="{1307D6CB-67CE-4262-8F87-72E777D66D71}" srcOrd="0" destOrd="0" presId="urn:microsoft.com/office/officeart/2005/8/layout/vList2"/>
    <dgm:cxn modelId="{582D54C9-4320-498B-BCE0-EAC2F9380E01}" type="presParOf" srcId="{C6262E3B-6FF1-4DB7-AD82-13F266D51C05}" destId="{B9AD23B7-57ED-4781-8895-31B38DA01357}" srcOrd="1" destOrd="0" presId="urn:microsoft.com/office/officeart/2005/8/layout/vList2"/>
    <dgm:cxn modelId="{95F6593D-778B-431E-A002-0E1581E038D1}" type="presParOf" srcId="{C6262E3B-6FF1-4DB7-AD82-13F266D51C05}" destId="{04708ADC-40C5-42F5-B72E-3B219B1F3581}" srcOrd="2" destOrd="0" presId="urn:microsoft.com/office/officeart/2005/8/layout/vList2"/>
    <dgm:cxn modelId="{D52B6793-53B4-4EF3-9052-EC4E434BA167}" type="presParOf" srcId="{C6262E3B-6FF1-4DB7-AD82-13F266D51C05}" destId="{214814D1-BB9A-45C0-A68A-C8858FA43936}" srcOrd="3" destOrd="0" presId="urn:microsoft.com/office/officeart/2005/8/layout/vList2"/>
    <dgm:cxn modelId="{B8EEBA74-52B3-466A-8544-275A235BB3D3}" type="presParOf" srcId="{C6262E3B-6FF1-4DB7-AD82-13F266D51C05}" destId="{A3A24161-5A15-4F32-B422-CC36BC970BCA}" srcOrd="4" destOrd="0" presId="urn:microsoft.com/office/officeart/2005/8/layout/vList2"/>
    <dgm:cxn modelId="{37E409CE-9115-4329-BD1A-6C23432E2DF9}" type="presParOf" srcId="{C6262E3B-6FF1-4DB7-AD82-13F266D51C05}" destId="{84B99A2B-C0C3-4487-A92E-B321A489B068}" srcOrd="5" destOrd="0" presId="urn:microsoft.com/office/officeart/2005/8/layout/vList2"/>
    <dgm:cxn modelId="{348B040D-8A4A-4B45-B686-B6CADDA62C7F}" type="presParOf" srcId="{C6262E3B-6FF1-4DB7-AD82-13F266D51C05}" destId="{E635548D-5E90-40EE-84F3-D7A7431BA8A6}" srcOrd="6" destOrd="0" presId="urn:microsoft.com/office/officeart/2005/8/layout/vList2"/>
    <dgm:cxn modelId="{C3510EE8-0888-46BD-B693-500381191F4B}" type="presParOf" srcId="{C6262E3B-6FF1-4DB7-AD82-13F266D51C05}" destId="{AFB1331F-7E58-4492-987A-ED3B581453CC}" srcOrd="7" destOrd="0" presId="urn:microsoft.com/office/officeart/2005/8/layout/vList2"/>
    <dgm:cxn modelId="{0EFBEB44-035B-47CD-AF2D-EEB345D94A38}" type="presParOf" srcId="{C6262E3B-6FF1-4DB7-AD82-13F266D51C05}" destId="{5EC2157C-1894-4821-A81D-694DC6D4B550}" srcOrd="8" destOrd="0" presId="urn:microsoft.com/office/officeart/2005/8/layout/vList2"/>
    <dgm:cxn modelId="{1220571D-4A74-43D0-95B2-A1F3657A35A1}" type="presParOf" srcId="{C6262E3B-6FF1-4DB7-AD82-13F266D51C05}" destId="{053CEC7D-F30F-49F5-9CF6-4215F0DC3BE9}" srcOrd="9" destOrd="0" presId="urn:microsoft.com/office/officeart/2005/8/layout/vList2"/>
    <dgm:cxn modelId="{4C040971-8B28-43DD-A37D-E140D412DFEE}" type="presParOf" srcId="{C6262E3B-6FF1-4DB7-AD82-13F266D51C05}" destId="{F2DBCA27-9514-4902-8831-1B0A55A0638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6E94C76-B11B-4E2C-9168-13137B1F76D6}"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9D7B58E2-B335-4062-B837-6C9882337CE5}">
      <dgm:prSet custT="1"/>
      <dgm:spPr/>
      <dgm:t>
        <a:bodyPr/>
        <a:lstStyle/>
        <a:p>
          <a:r>
            <a:rPr lang="en-US" sz="2800" b="0" i="0" dirty="0"/>
            <a:t>SQL Server 2016 (13.x) (Windows only)</a:t>
          </a:r>
          <a:endParaRPr lang="en-US" sz="2800" dirty="0"/>
        </a:p>
      </dgm:t>
    </dgm:pt>
    <dgm:pt modelId="{E5BA3515-AB29-4F08-B3CB-4B9058A1C0C0}" type="parTrans" cxnId="{68CAB1ED-66C2-431A-92B8-96F53803C661}">
      <dgm:prSet/>
      <dgm:spPr/>
      <dgm:t>
        <a:bodyPr/>
        <a:lstStyle/>
        <a:p>
          <a:endParaRPr lang="en-US"/>
        </a:p>
      </dgm:t>
    </dgm:pt>
    <dgm:pt modelId="{9FBC798D-9BA1-45B9-87B5-F7EC4062B9B6}" type="sibTrans" cxnId="{68CAB1ED-66C2-431A-92B8-96F53803C661}">
      <dgm:prSet/>
      <dgm:spPr/>
      <dgm:t>
        <a:bodyPr/>
        <a:lstStyle/>
        <a:p>
          <a:endParaRPr lang="en-US"/>
        </a:p>
      </dgm:t>
    </dgm:pt>
    <dgm:pt modelId="{99C3AEDC-669F-4AD8-937E-8F5E73039EF7}">
      <dgm:prSet custT="1"/>
      <dgm:spPr/>
      <dgm:t>
        <a:bodyPr/>
        <a:lstStyle/>
        <a:p>
          <a:pPr>
            <a:buFont typeface="Arial" panose="020B0604020202020204" pitchFamily="34" charset="0"/>
            <a:buChar char="•"/>
          </a:pPr>
          <a:r>
            <a:rPr lang="en-US" sz="2800" b="0" i="0" dirty="0"/>
            <a:t>SQL Server 2019 (15.x) and later versions (Windows and Linux)</a:t>
          </a:r>
        </a:p>
      </dgm:t>
    </dgm:pt>
    <dgm:pt modelId="{19AA003D-DC19-4D5D-B12A-A988FEB2A9C5}" type="parTrans" cxnId="{B48C21AF-DFBD-458B-8095-069D3EA98BA6}">
      <dgm:prSet/>
      <dgm:spPr/>
      <dgm:t>
        <a:bodyPr/>
        <a:lstStyle/>
        <a:p>
          <a:endParaRPr lang="en-US"/>
        </a:p>
      </dgm:t>
    </dgm:pt>
    <dgm:pt modelId="{C632B51C-FF65-40A5-B176-355EF7479F1E}" type="sibTrans" cxnId="{B48C21AF-DFBD-458B-8095-069D3EA98BA6}">
      <dgm:prSet/>
      <dgm:spPr/>
      <dgm:t>
        <a:bodyPr/>
        <a:lstStyle/>
        <a:p>
          <a:endParaRPr lang="en-US"/>
        </a:p>
      </dgm:t>
    </dgm:pt>
    <dgm:pt modelId="{E8CE87FB-8818-4324-A098-DDF70DBF6371}">
      <dgm:prSet custT="1"/>
      <dgm:spPr/>
      <dgm:t>
        <a:bodyPr/>
        <a:lstStyle/>
        <a:p>
          <a:pPr>
            <a:buFont typeface="Arial" panose="020B0604020202020204" pitchFamily="34" charset="0"/>
            <a:buChar char="•"/>
          </a:pPr>
          <a:r>
            <a:rPr lang="en-US" sz="2800" b="0" i="0" dirty="0"/>
            <a:t>SQL Server Analytics Platform System</a:t>
          </a:r>
        </a:p>
      </dgm:t>
    </dgm:pt>
    <dgm:pt modelId="{42385EAF-7CFA-4DF3-853E-5B9E4012DE73}" type="parTrans" cxnId="{3E50020C-DCF6-4900-AA0D-D7043717FA56}">
      <dgm:prSet/>
      <dgm:spPr/>
      <dgm:t>
        <a:bodyPr/>
        <a:lstStyle/>
        <a:p>
          <a:endParaRPr lang="en-US"/>
        </a:p>
      </dgm:t>
    </dgm:pt>
    <dgm:pt modelId="{FA481873-E60A-4865-A31F-2D006C4E3795}" type="sibTrans" cxnId="{3E50020C-DCF6-4900-AA0D-D7043717FA56}">
      <dgm:prSet/>
      <dgm:spPr/>
      <dgm:t>
        <a:bodyPr/>
        <a:lstStyle/>
        <a:p>
          <a:endParaRPr lang="en-US"/>
        </a:p>
      </dgm:t>
    </dgm:pt>
    <dgm:pt modelId="{CEFBB869-7DBC-443F-9CB4-B81202941536}">
      <dgm:prSet custT="1"/>
      <dgm:spPr/>
      <dgm:t>
        <a:bodyPr/>
        <a:lstStyle/>
        <a:p>
          <a:pPr>
            <a:buFont typeface="Arial" panose="020B0604020202020204" pitchFamily="34" charset="0"/>
            <a:buChar char="•"/>
          </a:pPr>
          <a:r>
            <a:rPr lang="en-US" sz="2800" b="0" i="0" dirty="0"/>
            <a:t>Azure Synapse Analytics</a:t>
          </a:r>
        </a:p>
      </dgm:t>
    </dgm:pt>
    <dgm:pt modelId="{3AEAF608-9DE1-453D-8571-7F88A8C32680}" type="parTrans" cxnId="{DEC4EBAC-DF73-40DD-8D96-522617A65122}">
      <dgm:prSet/>
      <dgm:spPr/>
      <dgm:t>
        <a:bodyPr/>
        <a:lstStyle/>
        <a:p>
          <a:endParaRPr lang="en-US"/>
        </a:p>
      </dgm:t>
    </dgm:pt>
    <dgm:pt modelId="{052A3F97-5DAC-4B0A-8398-3482CD8B0237}" type="sibTrans" cxnId="{DEC4EBAC-DF73-40DD-8D96-522617A65122}">
      <dgm:prSet/>
      <dgm:spPr/>
      <dgm:t>
        <a:bodyPr/>
        <a:lstStyle/>
        <a:p>
          <a:endParaRPr lang="en-US"/>
        </a:p>
      </dgm:t>
    </dgm:pt>
    <dgm:pt modelId="{0CF5C87E-AD9F-446D-BDC4-F88AFF9E2C5D}">
      <dgm:prSet custT="1"/>
      <dgm:spPr/>
      <dgm:t>
        <a:bodyPr/>
        <a:lstStyle/>
        <a:p>
          <a:r>
            <a:rPr lang="en-US" sz="2400" dirty="0"/>
            <a:t>Only supports connectors for Hadoop and Azure Blob Storage</a:t>
          </a:r>
        </a:p>
      </dgm:t>
    </dgm:pt>
    <dgm:pt modelId="{81B21763-C85B-42C0-B451-7F4444F49D6E}" type="parTrans" cxnId="{488406AF-0D9C-4D82-B80D-1843AF1E4E33}">
      <dgm:prSet/>
      <dgm:spPr/>
      <dgm:t>
        <a:bodyPr/>
        <a:lstStyle/>
        <a:p>
          <a:endParaRPr lang="en-US"/>
        </a:p>
      </dgm:t>
    </dgm:pt>
    <dgm:pt modelId="{2B09C0BC-3692-4080-8775-59DD09FB42D8}" type="sibTrans" cxnId="{488406AF-0D9C-4D82-B80D-1843AF1E4E33}">
      <dgm:prSet/>
      <dgm:spPr/>
      <dgm:t>
        <a:bodyPr/>
        <a:lstStyle/>
        <a:p>
          <a:endParaRPr lang="en-US"/>
        </a:p>
      </dgm:t>
    </dgm:pt>
    <dgm:pt modelId="{786CEFB4-8A66-4BD6-8150-66A3A8880A72}">
      <dgm:prSet custT="1"/>
      <dgm:spPr/>
      <dgm:t>
        <a:bodyPr/>
        <a:lstStyle/>
        <a:p>
          <a:pPr>
            <a:buFont typeface="Arial" panose="020B0604020202020204" pitchFamily="34" charset="0"/>
            <a:buChar char="•"/>
          </a:pPr>
          <a:r>
            <a:rPr lang="en-US" sz="2400" b="0" i="0" dirty="0"/>
            <a:t>Additional connectors for SQL Server, Oracle, Teradata, and MongoDB</a:t>
          </a:r>
        </a:p>
      </dgm:t>
    </dgm:pt>
    <dgm:pt modelId="{168D08BD-6429-4C76-A1D1-3EEA22E16804}" type="parTrans" cxnId="{59E3CB6A-8CB1-4862-BFDB-F545F14948C6}">
      <dgm:prSet/>
      <dgm:spPr/>
      <dgm:t>
        <a:bodyPr/>
        <a:lstStyle/>
        <a:p>
          <a:endParaRPr lang="en-US"/>
        </a:p>
      </dgm:t>
    </dgm:pt>
    <dgm:pt modelId="{96088468-38A4-4B36-9729-09EAC2E77B4B}" type="sibTrans" cxnId="{59E3CB6A-8CB1-4862-BFDB-F545F14948C6}">
      <dgm:prSet/>
      <dgm:spPr/>
      <dgm:t>
        <a:bodyPr/>
        <a:lstStyle/>
        <a:p>
          <a:endParaRPr lang="en-US"/>
        </a:p>
      </dgm:t>
    </dgm:pt>
    <dgm:pt modelId="{3222BDCF-1F52-4567-AFC2-58FD53761DA7}" type="pres">
      <dgm:prSet presAssocID="{56E94C76-B11B-4E2C-9168-13137B1F76D6}" presName="linear" presStyleCnt="0">
        <dgm:presLayoutVars>
          <dgm:animLvl val="lvl"/>
          <dgm:resizeHandles val="exact"/>
        </dgm:presLayoutVars>
      </dgm:prSet>
      <dgm:spPr/>
    </dgm:pt>
    <dgm:pt modelId="{E415C5C7-D73C-49EF-BB82-E4AF29554AF6}" type="pres">
      <dgm:prSet presAssocID="{9D7B58E2-B335-4062-B837-6C9882337CE5}" presName="parentText" presStyleLbl="node1" presStyleIdx="0" presStyleCnt="4">
        <dgm:presLayoutVars>
          <dgm:chMax val="0"/>
          <dgm:bulletEnabled val="1"/>
        </dgm:presLayoutVars>
      </dgm:prSet>
      <dgm:spPr/>
    </dgm:pt>
    <dgm:pt modelId="{2E58C22B-BC3C-4261-AE81-D77762EC85D0}" type="pres">
      <dgm:prSet presAssocID="{9D7B58E2-B335-4062-B837-6C9882337CE5}" presName="childText" presStyleLbl="revTx" presStyleIdx="0" presStyleCnt="2">
        <dgm:presLayoutVars>
          <dgm:bulletEnabled val="1"/>
        </dgm:presLayoutVars>
      </dgm:prSet>
      <dgm:spPr/>
    </dgm:pt>
    <dgm:pt modelId="{063FDC76-DF3D-4401-B321-4E204EFA5EFC}" type="pres">
      <dgm:prSet presAssocID="{99C3AEDC-669F-4AD8-937E-8F5E73039EF7}" presName="parentText" presStyleLbl="node1" presStyleIdx="1" presStyleCnt="4" custLinFactNeighborX="0" custLinFactNeighborY="-36521">
        <dgm:presLayoutVars>
          <dgm:chMax val="0"/>
          <dgm:bulletEnabled val="1"/>
        </dgm:presLayoutVars>
      </dgm:prSet>
      <dgm:spPr/>
    </dgm:pt>
    <dgm:pt modelId="{A3082118-B1EE-4566-A440-79D29E0ACDAE}" type="pres">
      <dgm:prSet presAssocID="{99C3AEDC-669F-4AD8-937E-8F5E73039EF7}" presName="childText" presStyleLbl="revTx" presStyleIdx="1" presStyleCnt="2" custLinFactNeighborX="0" custLinFactNeighborY="-32307">
        <dgm:presLayoutVars>
          <dgm:bulletEnabled val="1"/>
        </dgm:presLayoutVars>
      </dgm:prSet>
      <dgm:spPr/>
    </dgm:pt>
    <dgm:pt modelId="{D29528AC-28CD-4B53-B568-D0931D9D34D7}" type="pres">
      <dgm:prSet presAssocID="{E8CE87FB-8818-4324-A098-DDF70DBF6371}" presName="parentText" presStyleLbl="node1" presStyleIdx="2" presStyleCnt="4" custLinFactY="-46898" custLinFactNeighborX="0" custLinFactNeighborY="-100000">
        <dgm:presLayoutVars>
          <dgm:chMax val="0"/>
          <dgm:bulletEnabled val="1"/>
        </dgm:presLayoutVars>
      </dgm:prSet>
      <dgm:spPr/>
    </dgm:pt>
    <dgm:pt modelId="{0BFB01A0-4281-4041-94E4-EC14E420ECE2}" type="pres">
      <dgm:prSet presAssocID="{FA481873-E60A-4865-A31F-2D006C4E3795}" presName="spacer" presStyleCnt="0"/>
      <dgm:spPr/>
    </dgm:pt>
    <dgm:pt modelId="{1CFC8179-0748-418C-8AF0-E61D22711F64}" type="pres">
      <dgm:prSet presAssocID="{CEFBB869-7DBC-443F-9CB4-B81202941536}" presName="parentText" presStyleLbl="node1" presStyleIdx="3" presStyleCnt="4" custLinFactY="-42814" custLinFactNeighborX="0" custLinFactNeighborY="-100000">
        <dgm:presLayoutVars>
          <dgm:chMax val="0"/>
          <dgm:bulletEnabled val="1"/>
        </dgm:presLayoutVars>
      </dgm:prSet>
      <dgm:spPr/>
    </dgm:pt>
  </dgm:ptLst>
  <dgm:cxnLst>
    <dgm:cxn modelId="{3E50020C-DCF6-4900-AA0D-D7043717FA56}" srcId="{56E94C76-B11B-4E2C-9168-13137B1F76D6}" destId="{E8CE87FB-8818-4324-A098-DDF70DBF6371}" srcOrd="2" destOrd="0" parTransId="{42385EAF-7CFA-4DF3-853E-5B9E4012DE73}" sibTransId="{FA481873-E60A-4865-A31F-2D006C4E3795}"/>
    <dgm:cxn modelId="{44C18936-5021-4F88-BA0D-20FEBA327479}" type="presOf" srcId="{E8CE87FB-8818-4324-A098-DDF70DBF6371}" destId="{D29528AC-28CD-4B53-B568-D0931D9D34D7}" srcOrd="0" destOrd="0" presId="urn:microsoft.com/office/officeart/2005/8/layout/vList2"/>
    <dgm:cxn modelId="{4E374C63-E1E5-452E-B103-AC66C216B935}" type="presOf" srcId="{0CF5C87E-AD9F-446D-BDC4-F88AFF9E2C5D}" destId="{2E58C22B-BC3C-4261-AE81-D77762EC85D0}" srcOrd="0" destOrd="0" presId="urn:microsoft.com/office/officeart/2005/8/layout/vList2"/>
    <dgm:cxn modelId="{87742545-2F32-486A-AFAE-EFA1B0786BD0}" type="presOf" srcId="{56E94C76-B11B-4E2C-9168-13137B1F76D6}" destId="{3222BDCF-1F52-4567-AFC2-58FD53761DA7}" srcOrd="0" destOrd="0" presId="urn:microsoft.com/office/officeart/2005/8/layout/vList2"/>
    <dgm:cxn modelId="{0BA3CF46-8BD1-443F-908E-2CB6D44E89F9}" type="presOf" srcId="{99C3AEDC-669F-4AD8-937E-8F5E73039EF7}" destId="{063FDC76-DF3D-4401-B321-4E204EFA5EFC}" srcOrd="0" destOrd="0" presId="urn:microsoft.com/office/officeart/2005/8/layout/vList2"/>
    <dgm:cxn modelId="{59E3CB6A-8CB1-4862-BFDB-F545F14948C6}" srcId="{99C3AEDC-669F-4AD8-937E-8F5E73039EF7}" destId="{786CEFB4-8A66-4BD6-8150-66A3A8880A72}" srcOrd="0" destOrd="0" parTransId="{168D08BD-6429-4C76-A1D1-3EEA22E16804}" sibTransId="{96088468-38A4-4B36-9729-09EAC2E77B4B}"/>
    <dgm:cxn modelId="{5F0FEC9D-7AA8-43A8-978D-80F6D2069F6F}" type="presOf" srcId="{9D7B58E2-B335-4062-B837-6C9882337CE5}" destId="{E415C5C7-D73C-49EF-BB82-E4AF29554AF6}" srcOrd="0" destOrd="0" presId="urn:microsoft.com/office/officeart/2005/8/layout/vList2"/>
    <dgm:cxn modelId="{A8BECCA2-4D7D-4EAC-8BAD-4823658CD459}" type="presOf" srcId="{786CEFB4-8A66-4BD6-8150-66A3A8880A72}" destId="{A3082118-B1EE-4566-A440-79D29E0ACDAE}" srcOrd="0" destOrd="0" presId="urn:microsoft.com/office/officeart/2005/8/layout/vList2"/>
    <dgm:cxn modelId="{E14686A7-9186-4ABF-909E-4FE6F8D92E40}" type="presOf" srcId="{CEFBB869-7DBC-443F-9CB4-B81202941536}" destId="{1CFC8179-0748-418C-8AF0-E61D22711F64}" srcOrd="0" destOrd="0" presId="urn:microsoft.com/office/officeart/2005/8/layout/vList2"/>
    <dgm:cxn modelId="{DEC4EBAC-DF73-40DD-8D96-522617A65122}" srcId="{56E94C76-B11B-4E2C-9168-13137B1F76D6}" destId="{CEFBB869-7DBC-443F-9CB4-B81202941536}" srcOrd="3" destOrd="0" parTransId="{3AEAF608-9DE1-453D-8571-7F88A8C32680}" sibTransId="{052A3F97-5DAC-4B0A-8398-3482CD8B0237}"/>
    <dgm:cxn modelId="{488406AF-0D9C-4D82-B80D-1843AF1E4E33}" srcId="{9D7B58E2-B335-4062-B837-6C9882337CE5}" destId="{0CF5C87E-AD9F-446D-BDC4-F88AFF9E2C5D}" srcOrd="0" destOrd="0" parTransId="{81B21763-C85B-42C0-B451-7F4444F49D6E}" sibTransId="{2B09C0BC-3692-4080-8775-59DD09FB42D8}"/>
    <dgm:cxn modelId="{B48C21AF-DFBD-458B-8095-069D3EA98BA6}" srcId="{56E94C76-B11B-4E2C-9168-13137B1F76D6}" destId="{99C3AEDC-669F-4AD8-937E-8F5E73039EF7}" srcOrd="1" destOrd="0" parTransId="{19AA003D-DC19-4D5D-B12A-A988FEB2A9C5}" sibTransId="{C632B51C-FF65-40A5-B176-355EF7479F1E}"/>
    <dgm:cxn modelId="{68CAB1ED-66C2-431A-92B8-96F53803C661}" srcId="{56E94C76-B11B-4E2C-9168-13137B1F76D6}" destId="{9D7B58E2-B335-4062-B837-6C9882337CE5}" srcOrd="0" destOrd="0" parTransId="{E5BA3515-AB29-4F08-B3CB-4B9058A1C0C0}" sibTransId="{9FBC798D-9BA1-45B9-87B5-F7EC4062B9B6}"/>
    <dgm:cxn modelId="{F120B262-41CF-48B7-8922-06E69C10C925}" type="presParOf" srcId="{3222BDCF-1F52-4567-AFC2-58FD53761DA7}" destId="{E415C5C7-D73C-49EF-BB82-E4AF29554AF6}" srcOrd="0" destOrd="0" presId="urn:microsoft.com/office/officeart/2005/8/layout/vList2"/>
    <dgm:cxn modelId="{1C49E73E-1F33-4EF0-90F2-60B5B19F5897}" type="presParOf" srcId="{3222BDCF-1F52-4567-AFC2-58FD53761DA7}" destId="{2E58C22B-BC3C-4261-AE81-D77762EC85D0}" srcOrd="1" destOrd="0" presId="urn:microsoft.com/office/officeart/2005/8/layout/vList2"/>
    <dgm:cxn modelId="{F7DEED09-3D4C-4E1D-A14D-5AC0A8AFF895}" type="presParOf" srcId="{3222BDCF-1F52-4567-AFC2-58FD53761DA7}" destId="{063FDC76-DF3D-4401-B321-4E204EFA5EFC}" srcOrd="2" destOrd="0" presId="urn:microsoft.com/office/officeart/2005/8/layout/vList2"/>
    <dgm:cxn modelId="{C2FFF517-96AB-4A05-9424-6C9E943DBD78}" type="presParOf" srcId="{3222BDCF-1F52-4567-AFC2-58FD53761DA7}" destId="{A3082118-B1EE-4566-A440-79D29E0ACDAE}" srcOrd="3" destOrd="0" presId="urn:microsoft.com/office/officeart/2005/8/layout/vList2"/>
    <dgm:cxn modelId="{344CDF49-1B3C-403B-B9A1-F2975970B364}" type="presParOf" srcId="{3222BDCF-1F52-4567-AFC2-58FD53761DA7}" destId="{D29528AC-28CD-4B53-B568-D0931D9D34D7}" srcOrd="4" destOrd="0" presId="urn:microsoft.com/office/officeart/2005/8/layout/vList2"/>
    <dgm:cxn modelId="{AEB589D4-2D7F-4D68-8ACE-F4D77BA72489}" type="presParOf" srcId="{3222BDCF-1F52-4567-AFC2-58FD53761DA7}" destId="{0BFB01A0-4281-4041-94E4-EC14E420ECE2}" srcOrd="5" destOrd="0" presId="urn:microsoft.com/office/officeart/2005/8/layout/vList2"/>
    <dgm:cxn modelId="{33BA5636-BEC6-45DB-89D6-CE1774BF161F}" type="presParOf" srcId="{3222BDCF-1F52-4567-AFC2-58FD53761DA7}" destId="{1CFC8179-0748-418C-8AF0-E61D22711F64}"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BC786B-0ACA-405B-B0BF-FE4BDCE03C1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4DF2DB9-2D4C-43E1-9171-533C886D5640}">
      <dgm:prSet/>
      <dgm:spPr/>
      <dgm:t>
        <a:bodyPr/>
        <a:lstStyle/>
        <a:p>
          <a:pPr algn="ctr"/>
          <a:r>
            <a:rPr lang="en-US" b="0" i="0" dirty="0"/>
            <a:t>PolyBase scale-out groups will be retired July 2022.</a:t>
          </a:r>
          <a:endParaRPr lang="en-US" dirty="0"/>
        </a:p>
      </dgm:t>
    </dgm:pt>
    <dgm:pt modelId="{B6124BCC-7621-49D1-B270-46292A617FC3}" type="parTrans" cxnId="{0C717BE9-E9E0-4010-9CA8-8BB6CBBEED6F}">
      <dgm:prSet/>
      <dgm:spPr/>
      <dgm:t>
        <a:bodyPr/>
        <a:lstStyle/>
        <a:p>
          <a:endParaRPr lang="en-US"/>
        </a:p>
      </dgm:t>
    </dgm:pt>
    <dgm:pt modelId="{A2B9A23D-CA4F-418C-8535-3168699A39B8}" type="sibTrans" cxnId="{0C717BE9-E9E0-4010-9CA8-8BB6CBBEED6F}">
      <dgm:prSet/>
      <dgm:spPr/>
      <dgm:t>
        <a:bodyPr/>
        <a:lstStyle/>
        <a:p>
          <a:endParaRPr lang="en-US"/>
        </a:p>
      </dgm:t>
    </dgm:pt>
    <dgm:pt modelId="{C142F4AB-9EEE-49D2-9545-AB5F0B7984CF}">
      <dgm:prSet/>
      <dgm:spPr/>
      <dgm:t>
        <a:bodyPr/>
        <a:lstStyle/>
        <a:p>
          <a:pPr algn="ctr"/>
          <a:r>
            <a:rPr lang="en-US" b="0" i="0" dirty="0"/>
            <a:t>Scale-out group functionality will be removed from the product in SQL Server 2022. </a:t>
          </a:r>
          <a:endParaRPr lang="en-US" dirty="0"/>
        </a:p>
      </dgm:t>
    </dgm:pt>
    <dgm:pt modelId="{59D1C2DD-55ED-45C0-8D0F-CC350AD2BF0E}" type="parTrans" cxnId="{FA21D89E-82F4-4DA3-8946-D5C6BED789A0}">
      <dgm:prSet/>
      <dgm:spPr/>
      <dgm:t>
        <a:bodyPr/>
        <a:lstStyle/>
        <a:p>
          <a:endParaRPr lang="en-US"/>
        </a:p>
      </dgm:t>
    </dgm:pt>
    <dgm:pt modelId="{A480FFBD-CD44-4F27-B027-BF946A82E322}" type="sibTrans" cxnId="{FA21D89E-82F4-4DA3-8946-D5C6BED789A0}">
      <dgm:prSet/>
      <dgm:spPr/>
      <dgm:t>
        <a:bodyPr/>
        <a:lstStyle/>
        <a:p>
          <a:endParaRPr lang="en-US"/>
        </a:p>
      </dgm:t>
    </dgm:pt>
    <dgm:pt modelId="{E14CD069-986A-4598-8791-BC9003EA4E17}">
      <dgm:prSet/>
      <dgm:spPr/>
      <dgm:t>
        <a:bodyPr/>
        <a:lstStyle/>
        <a:p>
          <a:pPr algn="ctr"/>
          <a:r>
            <a:rPr lang="en-US" b="0" i="0" dirty="0"/>
            <a:t>PolyBase data virtualization will continue to be fully supported as a scale-up feature in SQL Server.</a:t>
          </a:r>
          <a:endParaRPr lang="en-US" dirty="0"/>
        </a:p>
      </dgm:t>
    </dgm:pt>
    <dgm:pt modelId="{38BF024E-0B2B-4175-A7E1-0173347FE948}" type="parTrans" cxnId="{E977D998-BC69-4D73-92A3-EA8307BF0EB6}">
      <dgm:prSet/>
      <dgm:spPr/>
      <dgm:t>
        <a:bodyPr/>
        <a:lstStyle/>
        <a:p>
          <a:endParaRPr lang="en-US"/>
        </a:p>
      </dgm:t>
    </dgm:pt>
    <dgm:pt modelId="{0E5C3CC4-3520-46E7-87C6-BD2BD01C2736}" type="sibTrans" cxnId="{E977D998-BC69-4D73-92A3-EA8307BF0EB6}">
      <dgm:prSet/>
      <dgm:spPr/>
      <dgm:t>
        <a:bodyPr/>
        <a:lstStyle/>
        <a:p>
          <a:endParaRPr lang="en-US"/>
        </a:p>
      </dgm:t>
    </dgm:pt>
    <dgm:pt modelId="{BBFC65E6-D609-4934-BDAB-E02683BACEF2}" type="pres">
      <dgm:prSet presAssocID="{02BC786B-0ACA-405B-B0BF-FE4BDCE03C14}" presName="linear" presStyleCnt="0">
        <dgm:presLayoutVars>
          <dgm:animLvl val="lvl"/>
          <dgm:resizeHandles val="exact"/>
        </dgm:presLayoutVars>
      </dgm:prSet>
      <dgm:spPr/>
    </dgm:pt>
    <dgm:pt modelId="{A404B457-5502-4E46-A941-4BC7EAF16115}" type="pres">
      <dgm:prSet presAssocID="{94DF2DB9-2D4C-43E1-9171-533C886D5640}" presName="parentText" presStyleLbl="node1" presStyleIdx="0" presStyleCnt="3">
        <dgm:presLayoutVars>
          <dgm:chMax val="0"/>
          <dgm:bulletEnabled val="1"/>
        </dgm:presLayoutVars>
      </dgm:prSet>
      <dgm:spPr/>
    </dgm:pt>
    <dgm:pt modelId="{7740C016-9B8A-477B-8604-B5FBE823580E}" type="pres">
      <dgm:prSet presAssocID="{A2B9A23D-CA4F-418C-8535-3168699A39B8}" presName="spacer" presStyleCnt="0"/>
      <dgm:spPr/>
    </dgm:pt>
    <dgm:pt modelId="{9E1C9D64-44A4-426E-8163-E674F5394DE2}" type="pres">
      <dgm:prSet presAssocID="{C142F4AB-9EEE-49D2-9545-AB5F0B7984CF}" presName="parentText" presStyleLbl="node1" presStyleIdx="1" presStyleCnt="3">
        <dgm:presLayoutVars>
          <dgm:chMax val="0"/>
          <dgm:bulletEnabled val="1"/>
        </dgm:presLayoutVars>
      </dgm:prSet>
      <dgm:spPr/>
    </dgm:pt>
    <dgm:pt modelId="{217813A9-E007-492A-ABA3-02449FD4FA78}" type="pres">
      <dgm:prSet presAssocID="{A480FFBD-CD44-4F27-B027-BF946A82E322}" presName="spacer" presStyleCnt="0"/>
      <dgm:spPr/>
    </dgm:pt>
    <dgm:pt modelId="{ADDA8236-DF89-4F92-A47D-23D9F3AB7038}" type="pres">
      <dgm:prSet presAssocID="{E14CD069-986A-4598-8791-BC9003EA4E17}" presName="parentText" presStyleLbl="node1" presStyleIdx="2" presStyleCnt="3">
        <dgm:presLayoutVars>
          <dgm:chMax val="0"/>
          <dgm:bulletEnabled val="1"/>
        </dgm:presLayoutVars>
      </dgm:prSet>
      <dgm:spPr/>
    </dgm:pt>
  </dgm:ptLst>
  <dgm:cxnLst>
    <dgm:cxn modelId="{20E2AB1D-98D2-4F97-8692-83167914BBE2}" type="presOf" srcId="{C142F4AB-9EEE-49D2-9545-AB5F0B7984CF}" destId="{9E1C9D64-44A4-426E-8163-E674F5394DE2}" srcOrd="0" destOrd="0" presId="urn:microsoft.com/office/officeart/2005/8/layout/vList2"/>
    <dgm:cxn modelId="{36B04733-3249-425F-BA0B-7BC007B5E7DB}" type="presOf" srcId="{E14CD069-986A-4598-8791-BC9003EA4E17}" destId="{ADDA8236-DF89-4F92-A47D-23D9F3AB7038}" srcOrd="0" destOrd="0" presId="urn:microsoft.com/office/officeart/2005/8/layout/vList2"/>
    <dgm:cxn modelId="{E977D998-BC69-4D73-92A3-EA8307BF0EB6}" srcId="{02BC786B-0ACA-405B-B0BF-FE4BDCE03C14}" destId="{E14CD069-986A-4598-8791-BC9003EA4E17}" srcOrd="2" destOrd="0" parTransId="{38BF024E-0B2B-4175-A7E1-0173347FE948}" sibTransId="{0E5C3CC4-3520-46E7-87C6-BD2BD01C2736}"/>
    <dgm:cxn modelId="{FA21D89E-82F4-4DA3-8946-D5C6BED789A0}" srcId="{02BC786B-0ACA-405B-B0BF-FE4BDCE03C14}" destId="{C142F4AB-9EEE-49D2-9545-AB5F0B7984CF}" srcOrd="1" destOrd="0" parTransId="{59D1C2DD-55ED-45C0-8D0F-CC350AD2BF0E}" sibTransId="{A480FFBD-CD44-4F27-B027-BF946A82E322}"/>
    <dgm:cxn modelId="{03C1E2A1-89C8-4D2C-AA06-4FD4DB4FC69D}" type="presOf" srcId="{94DF2DB9-2D4C-43E1-9171-533C886D5640}" destId="{A404B457-5502-4E46-A941-4BC7EAF16115}" srcOrd="0" destOrd="0" presId="urn:microsoft.com/office/officeart/2005/8/layout/vList2"/>
    <dgm:cxn modelId="{0C717BE9-E9E0-4010-9CA8-8BB6CBBEED6F}" srcId="{02BC786B-0ACA-405B-B0BF-FE4BDCE03C14}" destId="{94DF2DB9-2D4C-43E1-9171-533C886D5640}" srcOrd="0" destOrd="0" parTransId="{B6124BCC-7621-49D1-B270-46292A617FC3}" sibTransId="{A2B9A23D-CA4F-418C-8535-3168699A39B8}"/>
    <dgm:cxn modelId="{966C1AF7-9660-45CD-AF6D-FEEC4F93066C}" type="presOf" srcId="{02BC786B-0ACA-405B-B0BF-FE4BDCE03C14}" destId="{BBFC65E6-D609-4934-BDAB-E02683BACEF2}" srcOrd="0" destOrd="0" presId="urn:microsoft.com/office/officeart/2005/8/layout/vList2"/>
    <dgm:cxn modelId="{B46F9AED-D1AC-413A-9D4A-5E8B7D4F7467}" type="presParOf" srcId="{BBFC65E6-D609-4934-BDAB-E02683BACEF2}" destId="{A404B457-5502-4E46-A941-4BC7EAF16115}" srcOrd="0" destOrd="0" presId="urn:microsoft.com/office/officeart/2005/8/layout/vList2"/>
    <dgm:cxn modelId="{5C9AA088-F5EB-4060-B108-CB705516500F}" type="presParOf" srcId="{BBFC65E6-D609-4934-BDAB-E02683BACEF2}" destId="{7740C016-9B8A-477B-8604-B5FBE823580E}" srcOrd="1" destOrd="0" presId="urn:microsoft.com/office/officeart/2005/8/layout/vList2"/>
    <dgm:cxn modelId="{7359F11F-0C47-4560-B02D-569D736B7AB5}" type="presParOf" srcId="{BBFC65E6-D609-4934-BDAB-E02683BACEF2}" destId="{9E1C9D64-44A4-426E-8163-E674F5394DE2}" srcOrd="2" destOrd="0" presId="urn:microsoft.com/office/officeart/2005/8/layout/vList2"/>
    <dgm:cxn modelId="{EC376A02-C93B-487E-98CF-0162FE523F99}" type="presParOf" srcId="{BBFC65E6-D609-4934-BDAB-E02683BACEF2}" destId="{217813A9-E007-492A-ABA3-02449FD4FA78}" srcOrd="3" destOrd="0" presId="urn:microsoft.com/office/officeart/2005/8/layout/vList2"/>
    <dgm:cxn modelId="{7C654970-E37D-4F9B-9F24-70EE89E8A343}" type="presParOf" srcId="{BBFC65E6-D609-4934-BDAB-E02683BACEF2}" destId="{ADDA8236-DF89-4F92-A47D-23D9F3AB7038}"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2EEF3A-2F8B-45BE-97C6-7C963DE187DC}">
      <dsp:nvSpPr>
        <dsp:cNvPr id="0" name=""/>
        <dsp:cNvSpPr/>
      </dsp:nvSpPr>
      <dsp:spPr>
        <a:xfrm>
          <a:off x="0" y="916184"/>
          <a:ext cx="10880726" cy="9266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May 3rd – Erin Stellato (Azure Data Studio)</a:t>
          </a:r>
        </a:p>
      </dsp:txBody>
      <dsp:txXfrm>
        <a:off x="45235" y="961419"/>
        <a:ext cx="10790256" cy="836170"/>
      </dsp:txXfrm>
    </dsp:sp>
    <dsp:sp modelId="{5931316F-C9E1-44A0-BFBA-118444D10DB6}">
      <dsp:nvSpPr>
        <dsp:cNvPr id="0" name=""/>
        <dsp:cNvSpPr/>
      </dsp:nvSpPr>
      <dsp:spPr>
        <a:xfrm>
          <a:off x="0" y="1946504"/>
          <a:ext cx="10880726" cy="92664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May 10th – Niko Neugebauer (Managed Instances)</a:t>
          </a:r>
        </a:p>
      </dsp:txBody>
      <dsp:txXfrm>
        <a:off x="45235" y="1991739"/>
        <a:ext cx="10790256" cy="836170"/>
      </dsp:txXfrm>
    </dsp:sp>
    <dsp:sp modelId="{ED940C22-5650-4FCA-9702-2AB97C1DC50A}">
      <dsp:nvSpPr>
        <dsp:cNvPr id="0" name=""/>
        <dsp:cNvSpPr/>
      </dsp:nvSpPr>
      <dsp:spPr>
        <a:xfrm>
          <a:off x="0" y="2976825"/>
          <a:ext cx="10880726" cy="9266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May 17</a:t>
          </a:r>
          <a:r>
            <a:rPr lang="en-US" sz="3600" kern="1200" baseline="0" dirty="0"/>
            <a:t>th</a:t>
          </a:r>
          <a:r>
            <a:rPr lang="en-US" sz="3600" kern="1200" dirty="0"/>
            <a:t> - Kevin Barlett (Kubernetes)</a:t>
          </a:r>
        </a:p>
      </dsp:txBody>
      <dsp:txXfrm>
        <a:off x="45235" y="3022060"/>
        <a:ext cx="10790256" cy="8361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84DAA8-C20E-4E77-9623-18A08782A52F}">
      <dsp:nvSpPr>
        <dsp:cNvPr id="0" name=""/>
        <dsp:cNvSpPr/>
      </dsp:nvSpPr>
      <dsp:spPr>
        <a:xfrm>
          <a:off x="933954" y="1134112"/>
          <a:ext cx="1448488" cy="14484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BB6BB2-8C4D-4842-A094-AD80FDCB3453}">
      <dsp:nvSpPr>
        <dsp:cNvPr id="0" name=""/>
        <dsp:cNvSpPr/>
      </dsp:nvSpPr>
      <dsp:spPr>
        <a:xfrm>
          <a:off x="48766"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dirty="0"/>
            <a:t>What is Data Virtualization PolyBase?</a:t>
          </a:r>
        </a:p>
      </dsp:txBody>
      <dsp:txXfrm>
        <a:off x="48766" y="2965537"/>
        <a:ext cx="3218863" cy="720000"/>
      </dsp:txXfrm>
    </dsp:sp>
    <dsp:sp modelId="{B1E59602-E897-4E06-9C42-9427550A5869}">
      <dsp:nvSpPr>
        <dsp:cNvPr id="0" name=""/>
        <dsp:cNvSpPr/>
      </dsp:nvSpPr>
      <dsp:spPr>
        <a:xfrm>
          <a:off x="4716118" y="1134112"/>
          <a:ext cx="1448488" cy="14484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535A39-899A-42C7-8BCA-F4D97C62C68C}">
      <dsp:nvSpPr>
        <dsp:cNvPr id="0" name=""/>
        <dsp:cNvSpPr/>
      </dsp:nvSpPr>
      <dsp:spPr>
        <a:xfrm>
          <a:off x="3830931"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dirty="0"/>
            <a:t>Install and configure PolyBase.</a:t>
          </a:r>
        </a:p>
      </dsp:txBody>
      <dsp:txXfrm>
        <a:off x="3830931" y="2965537"/>
        <a:ext cx="3218863" cy="720000"/>
      </dsp:txXfrm>
    </dsp:sp>
    <dsp:sp modelId="{7B4EC5AE-0984-4C26-A64F-9BE2DDF33AC6}">
      <dsp:nvSpPr>
        <dsp:cNvPr id="0" name=""/>
        <dsp:cNvSpPr/>
      </dsp:nvSpPr>
      <dsp:spPr>
        <a:xfrm>
          <a:off x="8498283" y="1134112"/>
          <a:ext cx="1448488" cy="14484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C3A8CD7-2185-46C6-8DCE-2C6E523DC4D8}">
      <dsp:nvSpPr>
        <dsp:cNvPr id="0" name=""/>
        <dsp:cNvSpPr/>
      </dsp:nvSpPr>
      <dsp:spPr>
        <a:xfrm>
          <a:off x="7613095" y="2965537"/>
          <a:ext cx="321886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dirty="0"/>
            <a:t>Using PolyBase for Data Virtualization</a:t>
          </a:r>
        </a:p>
      </dsp:txBody>
      <dsp:txXfrm>
        <a:off x="7613095" y="2965537"/>
        <a:ext cx="3218863" cy="720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07D6CB-67CE-4262-8F87-72E777D66D71}">
      <dsp:nvSpPr>
        <dsp:cNvPr id="0" name=""/>
        <dsp:cNvSpPr/>
      </dsp:nvSpPr>
      <dsp:spPr>
        <a:xfrm>
          <a:off x="0" y="28865"/>
          <a:ext cx="10880726" cy="84942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PolyBase enables your instance to query remote data with T-SQL directly from SQL Server. </a:t>
          </a:r>
          <a:endParaRPr lang="en-US" sz="2000" kern="1200" dirty="0"/>
        </a:p>
      </dsp:txBody>
      <dsp:txXfrm>
        <a:off x="41465" y="70330"/>
        <a:ext cx="10797796" cy="766490"/>
      </dsp:txXfrm>
    </dsp:sp>
    <dsp:sp modelId="{04708ADC-40C5-42F5-B72E-3B219B1F3581}">
      <dsp:nvSpPr>
        <dsp:cNvPr id="0" name=""/>
        <dsp:cNvSpPr/>
      </dsp:nvSpPr>
      <dsp:spPr>
        <a:xfrm>
          <a:off x="0" y="1005005"/>
          <a:ext cx="10880726" cy="849420"/>
        </a:xfrm>
        <a:prstGeom prst="roundRect">
          <a:avLst/>
        </a:prstGeom>
        <a:solidFill>
          <a:schemeClr val="accent2">
            <a:hueOff val="-533499"/>
            <a:satOff val="11076"/>
            <a:lumOff val="11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Connect to SQL Server, Azure Storage, Oracle, Teradata, MongoDB, Hadoop clusters, and Cosmos DB without the need for additional client connection software.</a:t>
          </a:r>
          <a:endParaRPr lang="en-US" sz="2000" kern="1200" dirty="0"/>
        </a:p>
      </dsp:txBody>
      <dsp:txXfrm>
        <a:off x="41465" y="1046470"/>
        <a:ext cx="10797796" cy="766490"/>
      </dsp:txXfrm>
    </dsp:sp>
    <dsp:sp modelId="{A3A24161-5A15-4F32-B422-CC36BC970BCA}">
      <dsp:nvSpPr>
        <dsp:cNvPr id="0" name=""/>
        <dsp:cNvSpPr/>
      </dsp:nvSpPr>
      <dsp:spPr>
        <a:xfrm>
          <a:off x="0" y="1981145"/>
          <a:ext cx="10880726" cy="849420"/>
        </a:xfrm>
        <a:prstGeom prst="roundRect">
          <a:avLst/>
        </a:prstGeom>
        <a:solidFill>
          <a:schemeClr val="accent2">
            <a:hueOff val="-1066999"/>
            <a:satOff val="22153"/>
            <a:lumOff val="235"/>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You can connect to additional providers using third-party ODBC drivers.</a:t>
          </a:r>
          <a:endParaRPr lang="en-US" sz="2000" kern="1200" dirty="0"/>
        </a:p>
      </dsp:txBody>
      <dsp:txXfrm>
        <a:off x="41465" y="2022610"/>
        <a:ext cx="10797796" cy="766490"/>
      </dsp:txXfrm>
    </dsp:sp>
    <dsp:sp modelId="{E635548D-5E90-40EE-84F3-D7A7431BA8A6}">
      <dsp:nvSpPr>
        <dsp:cNvPr id="0" name=""/>
        <dsp:cNvSpPr/>
      </dsp:nvSpPr>
      <dsp:spPr>
        <a:xfrm>
          <a:off x="0" y="2957285"/>
          <a:ext cx="10880726" cy="849420"/>
        </a:xfrm>
        <a:prstGeom prst="roundRect">
          <a:avLst/>
        </a:prstGeom>
        <a:solidFill>
          <a:schemeClr val="accent2">
            <a:hueOff val="-1600498"/>
            <a:satOff val="33229"/>
            <a:lumOff val="353"/>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Allows T-SQL queries to join the data from external sources to relational tables</a:t>
          </a:r>
          <a:endParaRPr lang="en-US" sz="2000" kern="1200" dirty="0"/>
        </a:p>
      </dsp:txBody>
      <dsp:txXfrm>
        <a:off x="41465" y="2998750"/>
        <a:ext cx="10797796" cy="766490"/>
      </dsp:txXfrm>
    </dsp:sp>
    <dsp:sp modelId="{5EC2157C-1894-4821-A81D-694DC6D4B550}">
      <dsp:nvSpPr>
        <dsp:cNvPr id="0" name=""/>
        <dsp:cNvSpPr/>
      </dsp:nvSpPr>
      <dsp:spPr>
        <a:xfrm>
          <a:off x="0" y="3933425"/>
          <a:ext cx="10880726" cy="849420"/>
        </a:xfrm>
        <a:prstGeom prst="roundRect">
          <a:avLst/>
        </a:prstGeom>
        <a:solidFill>
          <a:schemeClr val="accent2">
            <a:hueOff val="-2133998"/>
            <a:satOff val="44306"/>
            <a:lumOff val="47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Data virtualization allows the data to stay in its original location and format</a:t>
          </a:r>
          <a:endParaRPr lang="en-US" sz="2000" kern="1200" dirty="0"/>
        </a:p>
      </dsp:txBody>
      <dsp:txXfrm>
        <a:off x="41465" y="3974890"/>
        <a:ext cx="10797796" cy="766490"/>
      </dsp:txXfrm>
    </dsp:sp>
    <dsp:sp modelId="{F2DBCA27-9514-4902-8831-1B0A55A0638A}">
      <dsp:nvSpPr>
        <dsp:cNvPr id="0" name=""/>
        <dsp:cNvSpPr/>
      </dsp:nvSpPr>
      <dsp:spPr>
        <a:xfrm>
          <a:off x="0" y="4909565"/>
          <a:ext cx="10880726" cy="849420"/>
        </a:xfrm>
        <a:prstGeom prst="roundRect">
          <a:avLst/>
        </a:prstGeom>
        <a:solidFill>
          <a:schemeClr val="accent2">
            <a:hueOff val="-2667497"/>
            <a:satOff val="55382"/>
            <a:lumOff val="58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Minimizes the need for ETL processes for data movement.</a:t>
          </a:r>
          <a:endParaRPr lang="en-US" sz="2000" kern="1200" dirty="0"/>
        </a:p>
      </dsp:txBody>
      <dsp:txXfrm>
        <a:off x="41465" y="4951030"/>
        <a:ext cx="10797796" cy="7664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15C5C7-D73C-49EF-BB82-E4AF29554AF6}">
      <dsp:nvSpPr>
        <dsp:cNvPr id="0" name=""/>
        <dsp:cNvSpPr/>
      </dsp:nvSpPr>
      <dsp:spPr>
        <a:xfrm>
          <a:off x="0" y="36514"/>
          <a:ext cx="10880726" cy="93600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SQL Server 2016 (13.x) (Windows only)</a:t>
          </a:r>
          <a:endParaRPr lang="en-US" sz="2800" kern="1200" dirty="0"/>
        </a:p>
      </dsp:txBody>
      <dsp:txXfrm>
        <a:off x="45692" y="82206"/>
        <a:ext cx="10789342" cy="844616"/>
      </dsp:txXfrm>
    </dsp:sp>
    <dsp:sp modelId="{2E58C22B-BC3C-4261-AE81-D77762EC85D0}">
      <dsp:nvSpPr>
        <dsp:cNvPr id="0" name=""/>
        <dsp:cNvSpPr/>
      </dsp:nvSpPr>
      <dsp:spPr>
        <a:xfrm>
          <a:off x="0" y="972514"/>
          <a:ext cx="10880726"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Only supports connectors for Hadoop and Azure Blob Storage</a:t>
          </a:r>
        </a:p>
      </dsp:txBody>
      <dsp:txXfrm>
        <a:off x="0" y="972514"/>
        <a:ext cx="10880726" cy="828000"/>
      </dsp:txXfrm>
    </dsp:sp>
    <dsp:sp modelId="{063FDC76-DF3D-4401-B321-4E204EFA5EFC}">
      <dsp:nvSpPr>
        <dsp:cNvPr id="0" name=""/>
        <dsp:cNvSpPr/>
      </dsp:nvSpPr>
      <dsp:spPr>
        <a:xfrm>
          <a:off x="0" y="1498120"/>
          <a:ext cx="10880726" cy="936000"/>
        </a:xfrm>
        <a:prstGeom prst="roundRect">
          <a:avLst/>
        </a:prstGeom>
        <a:solidFill>
          <a:schemeClr val="accent2">
            <a:hueOff val="-889166"/>
            <a:satOff val="18461"/>
            <a:lumOff val="196"/>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Font typeface="Arial" panose="020B0604020202020204" pitchFamily="34" charset="0"/>
            <a:buNone/>
          </a:pPr>
          <a:r>
            <a:rPr lang="en-US" sz="2800" b="0" i="0" kern="1200" dirty="0"/>
            <a:t>SQL Server 2019 (15.x) and later versions (Windows and Linux)</a:t>
          </a:r>
        </a:p>
      </dsp:txBody>
      <dsp:txXfrm>
        <a:off x="45692" y="1543812"/>
        <a:ext cx="10789342" cy="844616"/>
      </dsp:txXfrm>
    </dsp:sp>
    <dsp:sp modelId="{A3082118-B1EE-4566-A440-79D29E0ACDAE}">
      <dsp:nvSpPr>
        <dsp:cNvPr id="0" name=""/>
        <dsp:cNvSpPr/>
      </dsp:nvSpPr>
      <dsp:spPr>
        <a:xfrm>
          <a:off x="0" y="2434120"/>
          <a:ext cx="10880726" cy="8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b="0" i="0" kern="1200" dirty="0"/>
            <a:t>Additional connectors for SQL Server, Oracle, Teradata, and MongoDB</a:t>
          </a:r>
        </a:p>
      </dsp:txBody>
      <dsp:txXfrm>
        <a:off x="0" y="2434120"/>
        <a:ext cx="10880726" cy="828000"/>
      </dsp:txXfrm>
    </dsp:sp>
    <dsp:sp modelId="{D29528AC-28CD-4B53-B568-D0931D9D34D7}">
      <dsp:nvSpPr>
        <dsp:cNvPr id="0" name=""/>
        <dsp:cNvSpPr/>
      </dsp:nvSpPr>
      <dsp:spPr>
        <a:xfrm>
          <a:off x="0" y="2981548"/>
          <a:ext cx="10880726" cy="936000"/>
        </a:xfrm>
        <a:prstGeom prst="roundRect">
          <a:avLst/>
        </a:prstGeom>
        <a:solidFill>
          <a:schemeClr val="accent2">
            <a:hueOff val="-1778331"/>
            <a:satOff val="36921"/>
            <a:lumOff val="392"/>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Font typeface="Arial" panose="020B0604020202020204" pitchFamily="34" charset="0"/>
            <a:buNone/>
          </a:pPr>
          <a:r>
            <a:rPr lang="en-US" sz="2800" b="0" i="0" kern="1200" dirty="0"/>
            <a:t>SQL Server Analytics Platform System</a:t>
          </a:r>
        </a:p>
      </dsp:txBody>
      <dsp:txXfrm>
        <a:off x="45692" y="3027240"/>
        <a:ext cx="10789342" cy="844616"/>
      </dsp:txXfrm>
    </dsp:sp>
    <dsp:sp modelId="{1CFC8179-0748-418C-8AF0-E61D22711F64}">
      <dsp:nvSpPr>
        <dsp:cNvPr id="0" name=""/>
        <dsp:cNvSpPr/>
      </dsp:nvSpPr>
      <dsp:spPr>
        <a:xfrm>
          <a:off x="0" y="4099774"/>
          <a:ext cx="10880726" cy="936000"/>
        </a:xfrm>
        <a:prstGeom prst="roundRect">
          <a:avLst/>
        </a:prstGeom>
        <a:solidFill>
          <a:schemeClr val="accent2">
            <a:hueOff val="-2667497"/>
            <a:satOff val="55382"/>
            <a:lumOff val="58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Font typeface="Arial" panose="020B0604020202020204" pitchFamily="34" charset="0"/>
            <a:buNone/>
          </a:pPr>
          <a:r>
            <a:rPr lang="en-US" sz="2800" b="0" i="0" kern="1200" dirty="0"/>
            <a:t>Azure Synapse Analytics</a:t>
          </a:r>
        </a:p>
      </dsp:txBody>
      <dsp:txXfrm>
        <a:off x="45692" y="4145466"/>
        <a:ext cx="10789342" cy="8446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04B457-5502-4E46-A941-4BC7EAF16115}">
      <dsp:nvSpPr>
        <dsp:cNvPr id="0" name=""/>
        <dsp:cNvSpPr/>
      </dsp:nvSpPr>
      <dsp:spPr>
        <a:xfrm>
          <a:off x="0" y="194459"/>
          <a:ext cx="3323509" cy="1465095"/>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i="0" kern="1200" dirty="0"/>
            <a:t>PolyBase scale-out groups will be retired July 2022.</a:t>
          </a:r>
          <a:endParaRPr lang="en-US" sz="1900" kern="1200" dirty="0"/>
        </a:p>
      </dsp:txBody>
      <dsp:txXfrm>
        <a:off x="71520" y="265979"/>
        <a:ext cx="3180469" cy="1322055"/>
      </dsp:txXfrm>
    </dsp:sp>
    <dsp:sp modelId="{9E1C9D64-44A4-426E-8163-E674F5394DE2}">
      <dsp:nvSpPr>
        <dsp:cNvPr id="0" name=""/>
        <dsp:cNvSpPr/>
      </dsp:nvSpPr>
      <dsp:spPr>
        <a:xfrm>
          <a:off x="0" y="1714275"/>
          <a:ext cx="3323509" cy="1465095"/>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i="0" kern="1200" dirty="0"/>
            <a:t>Scale-out group functionality will be removed from the product in SQL Server 2022. </a:t>
          </a:r>
          <a:endParaRPr lang="en-US" sz="1900" kern="1200" dirty="0"/>
        </a:p>
      </dsp:txBody>
      <dsp:txXfrm>
        <a:off x="71520" y="1785795"/>
        <a:ext cx="3180469" cy="1322055"/>
      </dsp:txXfrm>
    </dsp:sp>
    <dsp:sp modelId="{ADDA8236-DF89-4F92-A47D-23D9F3AB7038}">
      <dsp:nvSpPr>
        <dsp:cNvPr id="0" name=""/>
        <dsp:cNvSpPr/>
      </dsp:nvSpPr>
      <dsp:spPr>
        <a:xfrm>
          <a:off x="0" y="3234091"/>
          <a:ext cx="3323509" cy="1465095"/>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i="0" kern="1200" dirty="0"/>
            <a:t>PolyBase data virtualization will continue to be fully supported as a scale-up feature in SQL Server.</a:t>
          </a:r>
          <a:endParaRPr lang="en-US" sz="1900" kern="1200" dirty="0"/>
        </a:p>
      </dsp:txBody>
      <dsp:txXfrm>
        <a:off x="71520" y="3305611"/>
        <a:ext cx="3180469" cy="132205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4/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01390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25669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14152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2958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9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10462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06928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70453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2015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755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a:solidFill>
                  <a:srgbClr val="E3E3E3"/>
                </a:solidFill>
                <a:effectLst/>
                <a:latin typeface="Segoe UI" panose="020B0502040204020203" pitchFamily="34" charset="0"/>
              </a:rPr>
              <a:t>Overview of key management for Always Encrypted: </a:t>
            </a:r>
            <a:r>
              <a:rPr lang="en-US">
                <a:hlinkClick r:id="rId3"/>
              </a:rPr>
              <a:t>https://docs.microsoft.com/en-us/sql/relational-databases/security/encryption/overview-of-key-management-for-always-encrypted?view=sql-server-ver15</a:t>
            </a:r>
            <a:endParaRPr lang="en-US" b="1" i="0">
              <a:solidFill>
                <a:srgbClr val="E3E3E3"/>
              </a:solidFill>
              <a:effectLst/>
              <a:latin typeface="Segoe UI" panose="020B0502040204020203" pitchFamily="34" charset="0"/>
            </a:endParaRPr>
          </a:p>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6/2022 10:57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09859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6488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36962960"/>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7328659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416992"/>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75430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7.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56" r:id="rId2"/>
    <p:sldLayoutId id="2147485357" r:id="rId3"/>
    <p:sldLayoutId id="2147485358" r:id="rId4"/>
    <p:sldLayoutId id="2147485301" r:id="rId5"/>
    <p:sldLayoutId id="2147485367" r:id="rId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9342993"/>
      </p:ext>
    </p:extLst>
  </p:cSld>
  <p:clrMap bg1="lt1" tx1="dk1" bg2="lt2" tx2="dk2" accent1="accent1" accent2="accent2" accent3="accent3" accent4="accent4" accent5="accent5" accent6="accent6" hlink="hlink" folHlink="folHlink"/>
  <p:sldLayoutIdLst>
    <p:sldLayoutId id="2147484984" r:id="rId1"/>
    <p:sldLayoutId id="214748498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0.jp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2.png"/><Relationship Id="rId7" Type="http://schemas.openxmlformats.org/officeDocument/2006/relationships/diagramColors" Target="../diagrams/colors5.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325292" y="3145459"/>
            <a:ext cx="5199473" cy="1329595"/>
          </a:xfrm>
        </p:spPr>
        <p:txBody>
          <a:bodyPr/>
          <a:lstStyle/>
          <a:p>
            <a:r>
              <a:rPr lang="en-US" dirty="0"/>
              <a:t>Data Virtualization with PolyBase in SQL Server 2019</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Enable PolyBase</a:t>
            </a:r>
          </a:p>
        </p:txBody>
      </p:sp>
      <p:grpSp>
        <p:nvGrpSpPr>
          <p:cNvPr id="10" name="Group 9">
            <a:extLst>
              <a:ext uri="{FF2B5EF4-FFF2-40B4-BE49-F238E27FC236}">
                <a16:creationId xmlns:a16="http://schemas.microsoft.com/office/drawing/2014/main" id="{69ED9710-35BF-779E-D747-A543262D706F}"/>
              </a:ext>
            </a:extLst>
          </p:cNvPr>
          <p:cNvGrpSpPr/>
          <p:nvPr/>
        </p:nvGrpSpPr>
        <p:grpSpPr>
          <a:xfrm>
            <a:off x="1244321" y="1038805"/>
            <a:ext cx="9703358" cy="5672295"/>
            <a:chOff x="1244321" y="1038805"/>
            <a:chExt cx="9703358" cy="5672295"/>
          </a:xfrm>
        </p:grpSpPr>
        <p:sp>
          <p:nvSpPr>
            <p:cNvPr id="9" name="Rectangle: Rounded Corners 8">
              <a:extLst>
                <a:ext uri="{FF2B5EF4-FFF2-40B4-BE49-F238E27FC236}">
                  <a16:creationId xmlns:a16="http://schemas.microsoft.com/office/drawing/2014/main" id="{1C3179F0-E8C3-B332-4A81-0ED599EBB838}"/>
                </a:ext>
              </a:extLst>
            </p:cNvPr>
            <p:cNvSpPr/>
            <p:nvPr/>
          </p:nvSpPr>
          <p:spPr bwMode="auto">
            <a:xfrm>
              <a:off x="1244321" y="1038805"/>
              <a:ext cx="9703358" cy="5672295"/>
            </a:xfrm>
            <a:prstGeom prst="roundRect">
              <a:avLst/>
            </a:prstGeom>
            <a:solidFill>
              <a:schemeClr val="bg2"/>
            </a:solidFill>
            <a:ln>
              <a:no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0D72DF1B-F22A-128D-5E46-39DB1B6F336A}"/>
                </a:ext>
              </a:extLst>
            </p:cNvPr>
            <p:cNvSpPr txBox="1"/>
            <p:nvPr/>
          </p:nvSpPr>
          <p:spPr>
            <a:xfrm>
              <a:off x="3162719" y="1366573"/>
              <a:ext cx="6767564" cy="5016758"/>
            </a:xfrm>
            <a:prstGeom prst="rect">
              <a:avLst/>
            </a:prstGeom>
            <a:noFill/>
            <a:effectLst>
              <a:glow rad="101600">
                <a:schemeClr val="accent4">
                  <a:satMod val="175000"/>
                  <a:alpha val="40000"/>
                </a:schemeClr>
              </a:glow>
            </a:effectLst>
          </p:spPr>
          <p:txBody>
            <a:bodyPr wrap="square">
              <a:spAutoFit/>
            </a:bodyPr>
            <a:lstStyle/>
            <a:p>
              <a:r>
                <a:rPr lang="en-US" sz="2000" dirty="0">
                  <a:solidFill>
                    <a:srgbClr val="0000FF"/>
                  </a:solidFill>
                  <a:latin typeface="Consolas" panose="020B0609020204030204" pitchFamily="49" charset="0"/>
                </a:rPr>
                <a:t>US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MASTER</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EXEC</a:t>
              </a:r>
              <a:r>
                <a:rPr lang="en-US" sz="2000" dirty="0">
                  <a:solidFill>
                    <a:srgbClr val="000000"/>
                  </a:solidFill>
                  <a:latin typeface="Consolas" panose="020B0609020204030204" pitchFamily="49" charset="0"/>
                </a:rPr>
                <a:t> </a:t>
              </a:r>
              <a:r>
                <a:rPr lang="en-US" sz="2000" dirty="0">
                  <a:solidFill>
                    <a:srgbClr val="800000"/>
                  </a:solidFill>
                  <a:latin typeface="Consolas" panose="020B0609020204030204" pitchFamily="49" charset="0"/>
                </a:rPr>
                <a:t>sp_configure</a:t>
              </a:r>
              <a:r>
                <a:rPr lang="en-US" sz="2000" dirty="0">
                  <a:solidFill>
                    <a:srgbClr val="0000FF"/>
                  </a:solidFill>
                  <a:latin typeface="Consolas" panose="020B0609020204030204" pitchFamily="49" charset="0"/>
                </a:rPr>
                <a:t> </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confignam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a:t>
              </a:r>
              <a:r>
                <a:rPr lang="en-US" sz="2000" dirty="0" err="1">
                  <a:solidFill>
                    <a:srgbClr val="FF0000"/>
                  </a:solidFill>
                  <a:latin typeface="Consolas" panose="020B0609020204030204" pitchFamily="49" charset="0"/>
                </a:rPr>
                <a:t>polybase</a:t>
              </a:r>
              <a:r>
                <a:rPr lang="en-US" sz="2000" dirty="0">
                  <a:solidFill>
                    <a:srgbClr val="FF0000"/>
                  </a:solidFill>
                  <a:latin typeface="Consolas" panose="020B0609020204030204" pitchFamily="49" charset="0"/>
                </a:rPr>
                <a:t> enabled'</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configvalu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1</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RECONFIGURE</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EXEC</a:t>
              </a:r>
              <a:r>
                <a:rPr lang="en-US" sz="2000" dirty="0">
                  <a:solidFill>
                    <a:srgbClr val="000000"/>
                  </a:solidFill>
                  <a:latin typeface="Consolas" panose="020B0609020204030204" pitchFamily="49" charset="0"/>
                </a:rPr>
                <a:t> </a:t>
              </a:r>
              <a:r>
                <a:rPr lang="en-US" sz="2000" dirty="0">
                  <a:solidFill>
                    <a:srgbClr val="800000"/>
                  </a:solidFill>
                  <a:latin typeface="Consolas" panose="020B0609020204030204" pitchFamily="49" charset="0"/>
                </a:rPr>
                <a:t>sp_configure</a:t>
              </a:r>
              <a:r>
                <a:rPr lang="en-US" sz="2000" dirty="0">
                  <a:solidFill>
                    <a:srgbClr val="0000FF"/>
                  </a:solidFill>
                  <a:latin typeface="Consolas" panose="020B0609020204030204" pitchFamily="49" charset="0"/>
                </a:rPr>
                <a:t> </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confignam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a:t>
              </a:r>
              <a:r>
                <a:rPr lang="en-US" sz="2000" dirty="0" err="1">
                  <a:solidFill>
                    <a:srgbClr val="FF0000"/>
                  </a:solidFill>
                  <a:latin typeface="Consolas" panose="020B0609020204030204" pitchFamily="49" charset="0"/>
                </a:rPr>
                <a:t>hadoop</a:t>
              </a:r>
              <a:r>
                <a:rPr lang="en-US" sz="2000" dirty="0">
                  <a:solidFill>
                    <a:srgbClr val="FF0000"/>
                  </a:solidFill>
                  <a:latin typeface="Consolas" panose="020B0609020204030204" pitchFamily="49" charset="0"/>
                </a:rPr>
                <a:t> connectivity'</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configvalu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7</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RECONFIGURE</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p>
          </p:txBody>
        </p:sp>
      </p:grpSp>
    </p:spTree>
    <p:extLst>
      <p:ext uri="{BB962C8B-B14F-4D97-AF65-F5344CB8AC3E}">
        <p14:creationId xmlns:p14="http://schemas.microsoft.com/office/powerpoint/2010/main" val="1990779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Create Credentials</a:t>
            </a:r>
          </a:p>
        </p:txBody>
      </p:sp>
      <p:grpSp>
        <p:nvGrpSpPr>
          <p:cNvPr id="10" name="Group 9">
            <a:extLst>
              <a:ext uri="{FF2B5EF4-FFF2-40B4-BE49-F238E27FC236}">
                <a16:creationId xmlns:a16="http://schemas.microsoft.com/office/drawing/2014/main" id="{69ED9710-35BF-779E-D747-A543262D706F}"/>
              </a:ext>
            </a:extLst>
          </p:cNvPr>
          <p:cNvGrpSpPr/>
          <p:nvPr/>
        </p:nvGrpSpPr>
        <p:grpSpPr>
          <a:xfrm>
            <a:off x="1244321" y="1038805"/>
            <a:ext cx="9703358" cy="5672295"/>
            <a:chOff x="1244321" y="1038805"/>
            <a:chExt cx="9703358" cy="5672295"/>
          </a:xfrm>
        </p:grpSpPr>
        <p:sp>
          <p:nvSpPr>
            <p:cNvPr id="9" name="Rectangle: Rounded Corners 8">
              <a:extLst>
                <a:ext uri="{FF2B5EF4-FFF2-40B4-BE49-F238E27FC236}">
                  <a16:creationId xmlns:a16="http://schemas.microsoft.com/office/drawing/2014/main" id="{1C3179F0-E8C3-B332-4A81-0ED599EBB838}"/>
                </a:ext>
              </a:extLst>
            </p:cNvPr>
            <p:cNvSpPr/>
            <p:nvPr/>
          </p:nvSpPr>
          <p:spPr bwMode="auto">
            <a:xfrm>
              <a:off x="1244321" y="1038805"/>
              <a:ext cx="9703358" cy="5672295"/>
            </a:xfrm>
            <a:prstGeom prst="roundRect">
              <a:avLst/>
            </a:prstGeom>
            <a:solidFill>
              <a:schemeClr val="bg2"/>
            </a:solidFill>
            <a:ln>
              <a:no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0D72DF1B-F22A-128D-5E46-39DB1B6F336A}"/>
                </a:ext>
              </a:extLst>
            </p:cNvPr>
            <p:cNvSpPr txBox="1"/>
            <p:nvPr/>
          </p:nvSpPr>
          <p:spPr>
            <a:xfrm>
              <a:off x="1984968" y="1213425"/>
              <a:ext cx="8222063" cy="4708981"/>
            </a:xfrm>
            <a:prstGeom prst="rect">
              <a:avLst/>
            </a:prstGeom>
            <a:noFill/>
            <a:effectLst>
              <a:glow rad="101600">
                <a:schemeClr val="accent4">
                  <a:satMod val="175000"/>
                  <a:alpha val="40000"/>
                </a:schemeClr>
              </a:glow>
            </a:effectLst>
          </p:spPr>
          <p:txBody>
            <a:bodyPr wrap="square">
              <a:spAutoFit/>
            </a:bodyPr>
            <a:lstStyle/>
            <a:p>
              <a:r>
                <a:rPr lang="en-US" sz="2000" dirty="0">
                  <a:solidFill>
                    <a:srgbClr val="008000"/>
                  </a:solidFill>
                  <a:latin typeface="Consolas" panose="020B0609020204030204" pitchFamily="49" charset="0"/>
                </a:rPr>
                <a:t>-- Create a master key.</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Only necessary if one does not already exist.</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Required to encrypt the credential secre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MASTER</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KEY</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Create a database scoped credential</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IDENTITY: Provide any string.</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SECRET: Provide your Azure storage account key.</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DATABAS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SCOPED</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CREDENTIAL</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AzureStorageCredential</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WITH</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IDENTITY</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user'</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SECRE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lt;</a:t>
              </a:r>
              <a:r>
                <a:rPr lang="en-US" sz="2000" dirty="0" err="1">
                  <a:solidFill>
                    <a:srgbClr val="FF0000"/>
                  </a:solidFill>
                  <a:latin typeface="Consolas" panose="020B0609020204030204" pitchFamily="49" charset="0"/>
                </a:rPr>
                <a:t>azure_storage_account_key</a:t>
              </a:r>
              <a:r>
                <a:rPr lang="en-US" sz="2000" dirty="0">
                  <a:solidFill>
                    <a:srgbClr val="FF0000"/>
                  </a:solidFill>
                  <a:latin typeface="Consolas" panose="020B0609020204030204" pitchFamily="49" charset="0"/>
                </a:rPr>
                <a:t>&gt;'</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endParaRPr lang="en-US" sz="2000" dirty="0"/>
            </a:p>
          </p:txBody>
        </p:sp>
      </p:grpSp>
    </p:spTree>
    <p:extLst>
      <p:ext uri="{BB962C8B-B14F-4D97-AF65-F5344CB8AC3E}">
        <p14:creationId xmlns:p14="http://schemas.microsoft.com/office/powerpoint/2010/main" val="4207265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Create External Objects</a:t>
            </a:r>
          </a:p>
        </p:txBody>
      </p:sp>
      <p:sp>
        <p:nvSpPr>
          <p:cNvPr id="6" name="Rectangle: Rounded Corners 5">
            <a:extLst>
              <a:ext uri="{FF2B5EF4-FFF2-40B4-BE49-F238E27FC236}">
                <a16:creationId xmlns:a16="http://schemas.microsoft.com/office/drawing/2014/main" id="{1CE8D37E-4E55-DA6E-B981-DA420AF06FF4}"/>
              </a:ext>
            </a:extLst>
          </p:cNvPr>
          <p:cNvSpPr/>
          <p:nvPr/>
        </p:nvSpPr>
        <p:spPr bwMode="auto">
          <a:xfrm>
            <a:off x="1244321" y="1038805"/>
            <a:ext cx="9703358" cy="5672295"/>
          </a:xfrm>
          <a:prstGeom prst="roundRect">
            <a:avLst/>
          </a:prstGeom>
          <a:solidFill>
            <a:schemeClr val="bg2"/>
          </a:solidFill>
          <a:ln>
            <a:no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0D72DF1B-F22A-128D-5E46-39DB1B6F336A}"/>
              </a:ext>
            </a:extLst>
          </p:cNvPr>
          <p:cNvSpPr txBox="1"/>
          <p:nvPr/>
        </p:nvSpPr>
        <p:spPr>
          <a:xfrm>
            <a:off x="1746739" y="1366573"/>
            <a:ext cx="9703358" cy="4678204"/>
          </a:xfrm>
          <a:prstGeom prst="rect">
            <a:avLst/>
          </a:prstGeom>
          <a:noFill/>
          <a:effectLst>
            <a:glow rad="101600">
              <a:schemeClr val="accent4">
                <a:satMod val="175000"/>
                <a:alpha val="40000"/>
              </a:schemeClr>
            </a:glow>
          </a:effectLst>
        </p:spPr>
        <p:txBody>
          <a:bodyPr wrap="square">
            <a:spAutoFit/>
          </a:bodyPr>
          <a:lstStyle/>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XTERNAL</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DATA</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SOURCE</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AzureStorage_west_public</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WITH</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p>
          <a:p>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TYP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Hadoop</a:t>
            </a:r>
            <a:endParaRPr lang="en-US" sz="2000" dirty="0">
              <a:solidFill>
                <a:srgbClr val="000000"/>
              </a:solidFill>
              <a:latin typeface="Consolas" panose="020B0609020204030204" pitchFamily="49" charset="0"/>
            </a:endParaRPr>
          </a:p>
          <a:p>
            <a:r>
              <a:rPr lang="fr-FR" sz="2000" dirty="0">
                <a:solidFill>
                  <a:srgbClr val="808080"/>
                </a:solidFill>
                <a:latin typeface="Consolas" panose="020B0609020204030204" pitchFamily="49" charset="0"/>
              </a:rPr>
              <a:t>,</a:t>
            </a:r>
            <a:r>
              <a:rPr lang="fr-FR" sz="2000" dirty="0">
                <a:solidFill>
                  <a:srgbClr val="000000"/>
                </a:solidFill>
                <a:latin typeface="Consolas" panose="020B0609020204030204" pitchFamily="49" charset="0"/>
              </a:rPr>
              <a:t>   </a:t>
            </a:r>
            <a:r>
              <a:rPr lang="fr-FR" sz="2000" dirty="0">
                <a:solidFill>
                  <a:srgbClr val="0000FF"/>
                </a:solidFill>
                <a:latin typeface="Consolas" panose="020B0609020204030204" pitchFamily="49" charset="0"/>
              </a:rPr>
              <a:t>LOCATION</a:t>
            </a:r>
            <a:r>
              <a:rPr lang="fr-FR" sz="2000" dirty="0">
                <a:solidFill>
                  <a:srgbClr val="000000"/>
                </a:solidFill>
                <a:latin typeface="Consolas" panose="020B0609020204030204" pitchFamily="49" charset="0"/>
              </a:rPr>
              <a:t> </a:t>
            </a:r>
            <a:r>
              <a:rPr lang="fr-FR" sz="2000" dirty="0">
                <a:solidFill>
                  <a:srgbClr val="808080"/>
                </a:solidFill>
                <a:latin typeface="Consolas" panose="020B0609020204030204" pitchFamily="49" charset="0"/>
              </a:rPr>
              <a:t>=</a:t>
            </a:r>
            <a:r>
              <a:rPr lang="fr-FR" sz="2000" dirty="0">
                <a:solidFill>
                  <a:srgbClr val="000000"/>
                </a:solidFill>
                <a:latin typeface="Consolas" panose="020B0609020204030204" pitchFamily="49" charset="0"/>
              </a:rPr>
              <a:t> </a:t>
            </a:r>
            <a:r>
              <a:rPr lang="fr-FR" sz="2000" dirty="0">
                <a:solidFill>
                  <a:srgbClr val="FF0000"/>
                </a:solidFill>
                <a:latin typeface="Consolas" panose="020B0609020204030204" pitchFamily="49" charset="0"/>
              </a:rPr>
              <a:t>'</a:t>
            </a:r>
            <a:r>
              <a:rPr lang="fr-FR" sz="2000" dirty="0" err="1">
                <a:solidFill>
                  <a:srgbClr val="FF0000"/>
                </a:solidFill>
                <a:latin typeface="Consolas" panose="020B0609020204030204" pitchFamily="49" charset="0"/>
              </a:rPr>
              <a:t>wasbs</a:t>
            </a:r>
            <a:r>
              <a:rPr lang="fr-FR" sz="2000" dirty="0">
                <a:solidFill>
                  <a:srgbClr val="FF0000"/>
                </a:solidFill>
                <a:latin typeface="Consolas" panose="020B0609020204030204" pitchFamily="49" charset="0"/>
              </a:rPr>
              <a:t>://</a:t>
            </a:r>
            <a:r>
              <a:rPr lang="fr-FR" sz="2000" dirty="0" err="1">
                <a:solidFill>
                  <a:srgbClr val="FF0000"/>
                </a:solidFill>
                <a:latin typeface="Consolas" panose="020B0609020204030204" pitchFamily="49" charset="0"/>
              </a:rPr>
              <a:t>contosoretaildw</a:t>
            </a:r>
            <a:r>
              <a:rPr lang="fr-FR" sz="2000" dirty="0">
                <a:solidFill>
                  <a:srgbClr val="FF0000"/>
                </a:solidFill>
                <a:latin typeface="Consolas" panose="020B0609020204030204" pitchFamily="49" charset="0"/>
              </a:rPr>
              <a:t>-	tables@contosoretaildw.blob.core.windows.net/’</a:t>
            </a:r>
          </a:p>
          <a:p>
            <a:r>
              <a:rPr lang="en-US" sz="1800" dirty="0">
                <a:solidFill>
                  <a:srgbClr val="008000"/>
                </a:solidFill>
                <a:latin typeface="Consolas" panose="020B0609020204030204" pitchFamily="49" charset="0"/>
              </a:rPr>
              <a:t>--, CREDENTIAL = </a:t>
            </a:r>
            <a:r>
              <a:rPr lang="en-US" sz="1800" dirty="0" err="1">
                <a:solidFill>
                  <a:srgbClr val="008000"/>
                </a:solidFill>
                <a:latin typeface="Consolas" panose="020B0609020204030204" pitchFamily="49" charset="0"/>
              </a:rPr>
              <a:t>AzureStorageCredential</a:t>
            </a:r>
            <a:r>
              <a:rPr lang="en-US" sz="1800" dirty="0">
                <a:solidFill>
                  <a:srgbClr val="008000"/>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XTERNAL</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ILE</a:t>
            </a:r>
            <a:r>
              <a:rPr lang="en-US" sz="2000" dirty="0">
                <a:solidFill>
                  <a:srgbClr val="000000"/>
                </a:solidFill>
                <a:latin typeface="Consolas" panose="020B0609020204030204" pitchFamily="49" charset="0"/>
              </a:rPr>
              <a:t> </a:t>
            </a:r>
            <a:r>
              <a:rPr lang="en-US" sz="2000" dirty="0">
                <a:solidFill>
                  <a:srgbClr val="FF00FF"/>
                </a:solidFill>
                <a:latin typeface="Consolas" panose="020B0609020204030204" pitchFamily="49" charset="0"/>
              </a:rPr>
              <a:t>FORMAT</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TextFileForm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WITH</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ORMAT_TYP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DELIMITEDTEXT</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ORMAT_OPTIONS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IELD_TERMINATOR</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STRING_DELIMITER</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DATE_FORMA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00"/>
                </a:solidFill>
                <a:latin typeface="Consolas" panose="020B0609020204030204" pitchFamily="49" charset="0"/>
              </a:rPr>
              <a:t>'</a:t>
            </a:r>
            <a:r>
              <a:rPr lang="en-US" sz="2000" dirty="0" err="1">
                <a:solidFill>
                  <a:srgbClr val="FF0000"/>
                </a:solidFill>
                <a:latin typeface="Consolas" panose="020B0609020204030204" pitchFamily="49" charset="0"/>
              </a:rPr>
              <a:t>yyyy</a:t>
            </a:r>
            <a:r>
              <a:rPr lang="en-US" sz="2000" dirty="0">
                <a:solidFill>
                  <a:srgbClr val="FF0000"/>
                </a:solidFill>
                <a:latin typeface="Consolas" panose="020B0609020204030204" pitchFamily="49" charset="0"/>
              </a:rPr>
              <a:t>-MM-dd </a:t>
            </a:r>
            <a:r>
              <a:rPr lang="en-US" sz="2000" dirty="0" err="1">
                <a:solidFill>
                  <a:srgbClr val="FF0000"/>
                </a:solidFill>
                <a:latin typeface="Consolas" panose="020B0609020204030204" pitchFamily="49" charset="0"/>
              </a:rPr>
              <a:t>HH:mm:ss.fff</a:t>
            </a:r>
            <a:r>
              <a:rPr lang="en-US" sz="2000" dirty="0">
                <a:solidFill>
                  <a:srgbClr val="FF000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USE_TYPE_DEFAUL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FALSE</a:t>
            </a:r>
            <a:r>
              <a:rPr lang="en-US" sz="2000" dirty="0">
                <a:solidFill>
                  <a:srgbClr val="808080"/>
                </a:solidFill>
                <a:latin typeface="Consolas" panose="020B0609020204030204" pitchFamily="49" charset="0"/>
              </a:rPr>
              <a:t>));</a:t>
            </a:r>
            <a:endParaRPr lang="en-US" sz="2000" dirty="0"/>
          </a:p>
        </p:txBody>
      </p:sp>
    </p:spTree>
    <p:extLst>
      <p:ext uri="{BB962C8B-B14F-4D97-AF65-F5344CB8AC3E}">
        <p14:creationId xmlns:p14="http://schemas.microsoft.com/office/powerpoint/2010/main" val="1193182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Create External Table</a:t>
            </a:r>
          </a:p>
        </p:txBody>
      </p:sp>
      <p:grpSp>
        <p:nvGrpSpPr>
          <p:cNvPr id="10" name="Group 9">
            <a:extLst>
              <a:ext uri="{FF2B5EF4-FFF2-40B4-BE49-F238E27FC236}">
                <a16:creationId xmlns:a16="http://schemas.microsoft.com/office/drawing/2014/main" id="{AC13451C-F5C4-322B-EC8E-5681AA103F2B}"/>
              </a:ext>
            </a:extLst>
          </p:cNvPr>
          <p:cNvGrpSpPr/>
          <p:nvPr/>
        </p:nvGrpSpPr>
        <p:grpSpPr>
          <a:xfrm>
            <a:off x="1133790" y="998612"/>
            <a:ext cx="9703358" cy="5672295"/>
            <a:chOff x="1133790" y="998612"/>
            <a:chExt cx="9703358" cy="5672295"/>
          </a:xfrm>
        </p:grpSpPr>
        <p:sp>
          <p:nvSpPr>
            <p:cNvPr id="6" name="Rectangle: Rounded Corners 5">
              <a:extLst>
                <a:ext uri="{FF2B5EF4-FFF2-40B4-BE49-F238E27FC236}">
                  <a16:creationId xmlns:a16="http://schemas.microsoft.com/office/drawing/2014/main" id="{1CE8D37E-4E55-DA6E-B981-DA420AF06FF4}"/>
                </a:ext>
              </a:extLst>
            </p:cNvPr>
            <p:cNvSpPr/>
            <p:nvPr/>
          </p:nvSpPr>
          <p:spPr bwMode="auto">
            <a:xfrm>
              <a:off x="1133790" y="998612"/>
              <a:ext cx="9703358" cy="5672295"/>
            </a:xfrm>
            <a:prstGeom prst="roundRect">
              <a:avLst/>
            </a:prstGeom>
            <a:solidFill>
              <a:schemeClr val="bg2"/>
            </a:solidFill>
            <a:ln>
              <a:no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a:extLst>
                <a:ext uri="{FF2B5EF4-FFF2-40B4-BE49-F238E27FC236}">
                  <a16:creationId xmlns:a16="http://schemas.microsoft.com/office/drawing/2014/main" id="{345D1071-34D9-E861-9309-6AF945AF9CDD}"/>
                </a:ext>
              </a:extLst>
            </p:cNvPr>
            <p:cNvSpPr txBox="1"/>
            <p:nvPr/>
          </p:nvSpPr>
          <p:spPr>
            <a:xfrm>
              <a:off x="2712218" y="1634156"/>
              <a:ext cx="6767564" cy="4401205"/>
            </a:xfrm>
            <a:prstGeom prst="rect">
              <a:avLst/>
            </a:prstGeom>
            <a:noFill/>
          </p:spPr>
          <p:txBody>
            <a:bodyPr wrap="square">
              <a:spAutoFit/>
            </a:bodyPr>
            <a:lstStyle/>
            <a:p>
              <a:r>
                <a:rPr lang="en-US" sz="2000" dirty="0">
                  <a:solidFill>
                    <a:srgbClr val="0000FF"/>
                  </a:solidFill>
                  <a:latin typeface="Consolas" panose="020B0609020204030204" pitchFamily="49" charset="0"/>
                </a:rPr>
                <a:t>CREATE</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EXTERNAL</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TABLE</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asb</a:t>
              </a:r>
              <a:r>
                <a:rPr lang="en-US" sz="2000" dirty="0">
                  <a:solidFill>
                    <a:srgbClr val="000000"/>
                  </a:solidFill>
                  <a:latin typeface="Consolas" panose="020B0609020204030204" pitchFamily="49" charset="0"/>
                </a:rPr>
                <a:t>]</a:t>
              </a:r>
              <a:r>
                <a:rPr lang="en-US" sz="2000" dirty="0">
                  <a:solidFill>
                    <a:srgbClr val="808080"/>
                  </a:solidFill>
                  <a:latin typeface="Consolas" panose="020B0609020204030204" pitchFamily="49" charset="0"/>
                </a:rPr>
                <a:t>.</a:t>
              </a:r>
              <a:r>
                <a:rPr lang="en-US" sz="2000" dirty="0" err="1">
                  <a:solidFill>
                    <a:srgbClr val="000000"/>
                  </a:solidFill>
                  <a:latin typeface="Consolas" panose="020B0609020204030204" pitchFamily="49" charset="0"/>
                </a:rPr>
                <a:t>DimCurrency</a:t>
              </a:r>
              <a:r>
                <a:rPr lang="en-US" sz="2000" dirty="0">
                  <a:solidFill>
                    <a:srgbClr val="000000"/>
                  </a:solidFill>
                  <a:latin typeface="Consolas" panose="020B0609020204030204" pitchFamily="49" charset="0"/>
                </a:rPr>
                <a:t> </a:t>
              </a: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CurrencyKey</a:t>
              </a:r>
              <a:r>
                <a:rPr lang="en-US" sz="2000" dirty="0">
                  <a:solidFill>
                    <a:srgbClr val="000000"/>
                  </a:solidFill>
                  <a:latin typeface="Consolas" panose="020B0609020204030204" pitchFamily="49" charset="0"/>
                </a:rPr>
                <a:t>] [int] </a:t>
              </a:r>
              <a:r>
                <a:rPr lang="en-US" sz="2000" dirty="0">
                  <a:solidFill>
                    <a:srgbClr val="808080"/>
                  </a:solidFill>
                  <a:latin typeface="Consolas" panose="020B0609020204030204" pitchFamily="49" charset="0"/>
                </a:rPr>
                <a:t>NO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CurrencyLabel</a:t>
              </a:r>
              <a:r>
                <a:rPr lang="en-US" sz="2000" dirty="0">
                  <a:solidFill>
                    <a:srgbClr val="000000"/>
                  </a:solidFill>
                  <a:latin typeface="Consolas" panose="020B0609020204030204" pitchFamily="49" charset="0"/>
                </a:rPr>
                <a:t>] [nvarchar]</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10</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O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CurrencyName</a:t>
              </a:r>
              <a:r>
                <a:rPr lang="en-US" sz="2000" dirty="0">
                  <a:solidFill>
                    <a:srgbClr val="000000"/>
                  </a:solidFill>
                  <a:latin typeface="Consolas" panose="020B0609020204030204" pitchFamily="49" charset="0"/>
                </a:rPr>
                <a:t>] [nvarchar]</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20</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O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CurrencyDescription</a:t>
              </a:r>
              <a:r>
                <a:rPr lang="en-US" sz="2000" dirty="0">
                  <a:solidFill>
                    <a:srgbClr val="000000"/>
                  </a:solidFill>
                  <a:latin typeface="Consolas" panose="020B0609020204030204" pitchFamily="49" charset="0"/>
                </a:rPr>
                <a:t>] [nvarchar]</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50</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O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ETLLoadID</a:t>
              </a:r>
              <a:r>
                <a:rPr lang="en-US" sz="2000" dirty="0">
                  <a:solidFill>
                    <a:srgbClr val="000000"/>
                  </a:solidFill>
                  <a:latin typeface="Consolas" panose="020B0609020204030204" pitchFamily="49" charset="0"/>
                </a:rPr>
                <a:t>] [int]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LoadDate</a:t>
              </a:r>
              <a:r>
                <a:rPr lang="en-US" sz="2000" dirty="0">
                  <a:solidFill>
                    <a:srgbClr val="000000"/>
                  </a:solidFill>
                  <a:latin typeface="Consolas" panose="020B0609020204030204" pitchFamily="49" charset="0"/>
                </a:rPr>
                <a:t>] [datetime]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00"/>
                  </a:solidFill>
                  <a:latin typeface="Consolas" panose="020B0609020204030204" pitchFamily="49" charset="0"/>
                </a:rPr>
                <a:t>[</a:t>
              </a:r>
              <a:r>
                <a:rPr lang="en-US" sz="2000" dirty="0" err="1">
                  <a:solidFill>
                    <a:srgbClr val="000000"/>
                  </a:solidFill>
                  <a:latin typeface="Consolas" panose="020B0609020204030204" pitchFamily="49" charset="0"/>
                </a:rPr>
                <a:t>UpdateDate</a:t>
              </a:r>
              <a:r>
                <a:rPr lang="en-US" sz="2000" dirty="0">
                  <a:solidFill>
                    <a:srgbClr val="000000"/>
                  </a:solidFill>
                  <a:latin typeface="Consolas" panose="020B0609020204030204" pitchFamily="49" charset="0"/>
                </a:rPr>
                <a:t>] [datetime] </a:t>
              </a:r>
              <a:r>
                <a:rPr lang="en-US" sz="2000" dirty="0">
                  <a:solidFill>
                    <a:srgbClr val="808080"/>
                  </a:solidFill>
                  <a:latin typeface="Consolas" panose="020B0609020204030204" pitchFamily="49" charset="0"/>
                </a:rPr>
                <a:t>NULL)</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WITH</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LOCATION</a:t>
              </a:r>
              <a:r>
                <a:rPr lang="en-US" sz="2000" dirty="0">
                  <a:solidFill>
                    <a:srgbClr val="808080"/>
                  </a:solidFill>
                  <a:latin typeface="Consolas" panose="020B0609020204030204" pitchFamily="49" charset="0"/>
                </a:rPr>
                <a:t>=</a:t>
              </a:r>
              <a:r>
                <a:rPr lang="en-US" sz="2000" dirty="0">
                  <a:solidFill>
                    <a:srgbClr val="FF0000"/>
                  </a:solidFill>
                  <a:latin typeface="Consolas" panose="020B0609020204030204" pitchFamily="49" charset="0"/>
                </a:rPr>
                <a:t>'/</a:t>
              </a:r>
              <a:r>
                <a:rPr lang="en-US" sz="2000" dirty="0" err="1">
                  <a:solidFill>
                    <a:srgbClr val="FF0000"/>
                  </a:solidFill>
                  <a:latin typeface="Consolas" panose="020B0609020204030204" pitchFamily="49" charset="0"/>
                </a:rPr>
                <a:t>DimCurrency</a:t>
              </a:r>
              <a:r>
                <a:rPr lang="en-US" sz="2000" dirty="0">
                  <a:solidFill>
                    <a:srgbClr val="FF0000"/>
                  </a:solidFill>
                  <a:latin typeface="Consolas" panose="020B0609020204030204" pitchFamily="49" charset="0"/>
                </a:rPr>
                <a:t>/'</a:t>
              </a:r>
              <a:r>
                <a:rPr lang="en-US" sz="2000" dirty="0">
                  <a:solidFill>
                    <a:srgbClr val="000000"/>
                  </a:solidFill>
                  <a:latin typeface="Consolas" panose="020B0609020204030204" pitchFamily="49" charset="0"/>
                </a:rPr>
                <a:t> </a:t>
              </a: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DATA_SOURC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AzureStorage_west_public</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ILE_FORMA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err="1">
                  <a:solidFill>
                    <a:srgbClr val="000000"/>
                  </a:solidFill>
                  <a:latin typeface="Consolas" panose="020B0609020204030204" pitchFamily="49" charset="0"/>
                </a:rPr>
                <a:t>TextFileFormat</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REJECT_TYP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VALUE</a:t>
              </a:r>
              <a:endParaRPr lang="en-US" sz="2000" dirty="0">
                <a:solidFill>
                  <a:srgbClr val="000000"/>
                </a:solidFill>
                <a:latin typeface="Consolas" panose="020B0609020204030204" pitchFamily="49" charset="0"/>
              </a:endParaRPr>
            </a:p>
            <a:p>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REJECT_VALUE</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0</a:t>
              </a:r>
              <a:r>
                <a:rPr lang="en-US" sz="2000" dirty="0">
                  <a:solidFill>
                    <a:srgbClr val="808080"/>
                  </a:solidFill>
                  <a:latin typeface="Consolas" panose="020B0609020204030204" pitchFamily="49" charset="0"/>
                </a:rPr>
                <a:t>);</a:t>
              </a:r>
              <a:endParaRPr lang="en-US" sz="2000" dirty="0"/>
            </a:p>
          </p:txBody>
        </p:sp>
      </p:grpSp>
    </p:spTree>
    <p:extLst>
      <p:ext uri="{BB962C8B-B14F-4D97-AF65-F5344CB8AC3E}">
        <p14:creationId xmlns:p14="http://schemas.microsoft.com/office/powerpoint/2010/main" val="2832286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1"/>
            <a:ext cx="11748763" cy="40064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5255541"/>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893823"/>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4043903" y="950497"/>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581" y="1225459"/>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88548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918806"/>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89382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38993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fontScale="90000"/>
          </a:bodyPr>
          <a:lstStyle/>
          <a:p>
            <a:pPr lvl="0">
              <a:lnSpc>
                <a:spcPct val="100000"/>
              </a:lnSpc>
            </a:pPr>
            <a:r>
              <a:rPr lang="en-US" b="1" dirty="0"/>
              <a:t>Upcoming SQL Talks</a:t>
            </a:r>
            <a:endParaRPr lang="en-US" dirty="0"/>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240292823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Agenda</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1088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extLst>
              <p:ext uri="{D42A27DB-BD31-4B8C-83A1-F6EECF244321}">
                <p14:modId xmlns:p14="http://schemas.microsoft.com/office/powerpoint/2010/main" val="1097037994"/>
              </p:ext>
            </p:extLst>
          </p:nvPr>
        </p:nvGraphicFramePr>
        <p:xfrm>
          <a:off x="655636" y="924447"/>
          <a:ext cx="10880726" cy="5787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What is Data Virtualization with PolyBase?</a:t>
            </a:r>
          </a:p>
        </p:txBody>
      </p:sp>
    </p:spTree>
    <p:extLst>
      <p:ext uri="{BB962C8B-B14F-4D97-AF65-F5344CB8AC3E}">
        <p14:creationId xmlns:p14="http://schemas.microsoft.com/office/powerpoint/2010/main" val="3519107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extLst>
              <p:ext uri="{D42A27DB-BD31-4B8C-83A1-F6EECF244321}">
                <p14:modId xmlns:p14="http://schemas.microsoft.com/office/powerpoint/2010/main" val="3095092172"/>
              </p:ext>
            </p:extLst>
          </p:nvPr>
        </p:nvGraphicFramePr>
        <p:xfrm>
          <a:off x="756120" y="1105318"/>
          <a:ext cx="10880726" cy="56170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756121" y="370281"/>
            <a:ext cx="10880725" cy="461665"/>
          </a:xfrm>
        </p:spPr>
        <p:txBody>
          <a:bodyPr/>
          <a:lstStyle/>
          <a:p>
            <a:r>
              <a:rPr lang="en-US" dirty="0"/>
              <a:t>Supported PolyBase Platforms</a:t>
            </a:r>
          </a:p>
        </p:txBody>
      </p:sp>
    </p:spTree>
    <p:extLst>
      <p:ext uri="{BB962C8B-B14F-4D97-AF65-F5344CB8AC3E}">
        <p14:creationId xmlns:p14="http://schemas.microsoft.com/office/powerpoint/2010/main" val="691987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Installing PolyBase</a:t>
            </a:r>
          </a:p>
        </p:txBody>
      </p:sp>
      <p:pic>
        <p:nvPicPr>
          <p:cNvPr id="7" name="Picture 6" descr="Installing PolyBase on SQL Server 2019">
            <a:extLst>
              <a:ext uri="{FF2B5EF4-FFF2-40B4-BE49-F238E27FC236}">
                <a16:creationId xmlns:a16="http://schemas.microsoft.com/office/drawing/2014/main" id="{247D4BB5-B189-B024-C9DF-EEEBB547EC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6314" y="1101576"/>
            <a:ext cx="7919372" cy="5345577"/>
          </a:xfrm>
          <a:prstGeom prst="rect">
            <a:avLst/>
          </a:prstGeom>
          <a:ln>
            <a:noFill/>
          </a:ln>
          <a:effectLst>
            <a:glow rad="101600">
              <a:schemeClr val="accent4">
                <a:satMod val="175000"/>
                <a:alpha val="40000"/>
              </a:schemeClr>
            </a:glow>
            <a:outerShdw blurRad="190500" algn="tl" rotWithShape="0">
              <a:srgbClr val="000000">
                <a:alpha val="70000"/>
              </a:srgbClr>
            </a:outerShdw>
          </a:effectLst>
        </p:spPr>
      </p:pic>
    </p:spTree>
    <p:extLst>
      <p:ext uri="{BB962C8B-B14F-4D97-AF65-F5344CB8AC3E}">
        <p14:creationId xmlns:p14="http://schemas.microsoft.com/office/powerpoint/2010/main" val="1558918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PolyBase Configuration</a:t>
            </a:r>
          </a:p>
        </p:txBody>
      </p:sp>
      <p:pic>
        <p:nvPicPr>
          <p:cNvPr id="4" name="Picture 3" descr="PolyBase Configuration">
            <a:extLst>
              <a:ext uri="{FF2B5EF4-FFF2-40B4-BE49-F238E27FC236}">
                <a16:creationId xmlns:a16="http://schemas.microsoft.com/office/drawing/2014/main" id="{1B099791-7E63-774D-798A-9964EEA1B1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0476" y="1336750"/>
            <a:ext cx="7569227" cy="5090307"/>
          </a:xfrm>
          <a:prstGeom prst="rect">
            <a:avLst/>
          </a:prstGeom>
          <a:ln>
            <a:noFill/>
          </a:ln>
          <a:effectLst>
            <a:glow rad="101600">
              <a:schemeClr val="accent4">
                <a:satMod val="175000"/>
                <a:alpha val="40000"/>
              </a:schemeClr>
            </a:glow>
            <a:outerShdw blurRad="190500" algn="tl" rotWithShape="0">
              <a:srgbClr val="000000">
                <a:alpha val="70000"/>
              </a:srgbClr>
            </a:outerShdw>
          </a:effectLst>
        </p:spPr>
      </p:pic>
      <p:graphicFrame>
        <p:nvGraphicFramePr>
          <p:cNvPr id="6" name="Diagram 5">
            <a:extLst>
              <a:ext uri="{FF2B5EF4-FFF2-40B4-BE49-F238E27FC236}">
                <a16:creationId xmlns:a16="http://schemas.microsoft.com/office/drawing/2014/main" id="{DEA668C2-A5B2-CEF9-B052-59F8011742B6}"/>
              </a:ext>
            </a:extLst>
          </p:cNvPr>
          <p:cNvGraphicFramePr/>
          <p:nvPr>
            <p:extLst>
              <p:ext uri="{D42A27DB-BD31-4B8C-83A1-F6EECF244321}">
                <p14:modId xmlns:p14="http://schemas.microsoft.com/office/powerpoint/2010/main" val="4168996678"/>
              </p:ext>
            </p:extLst>
          </p:nvPr>
        </p:nvGraphicFramePr>
        <p:xfrm>
          <a:off x="514962" y="1327021"/>
          <a:ext cx="3323509" cy="48936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9296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Installing Open Java</a:t>
            </a:r>
          </a:p>
        </p:txBody>
      </p:sp>
      <p:pic>
        <p:nvPicPr>
          <p:cNvPr id="4" name="Picture 3" descr="Java Install for PolyBase">
            <a:extLst>
              <a:ext uri="{FF2B5EF4-FFF2-40B4-BE49-F238E27FC236}">
                <a16:creationId xmlns:a16="http://schemas.microsoft.com/office/drawing/2014/main" id="{BC8D2481-4660-273E-8609-FF0370C390F2}"/>
              </a:ext>
            </a:extLst>
          </p:cNvPr>
          <p:cNvPicPr>
            <a:picLocks noChangeAspect="1"/>
          </p:cNvPicPr>
          <p:nvPr/>
        </p:nvPicPr>
        <p:blipFill rotWithShape="1">
          <a:blip r:embed="rId3">
            <a:extLst>
              <a:ext uri="{28A0092B-C50C-407E-A947-70E740481C1C}">
                <a14:useLocalDpi xmlns:a14="http://schemas.microsoft.com/office/drawing/2010/main" val="0"/>
              </a:ext>
            </a:extLst>
          </a:blip>
          <a:srcRect r="1" b="33888"/>
          <a:stretch/>
        </p:blipFill>
        <p:spPr>
          <a:xfrm>
            <a:off x="655638" y="1408114"/>
            <a:ext cx="10880726" cy="4819650"/>
          </a:xfrm>
          <a:prstGeom prst="rect">
            <a:avLst/>
          </a:prstGeom>
          <a:ln>
            <a:noFill/>
          </a:ln>
          <a:effectLst>
            <a:glow rad="101600">
              <a:schemeClr val="accent4">
                <a:satMod val="175000"/>
                <a:alpha val="40000"/>
              </a:schemeClr>
            </a:glow>
            <a:outerShdw blurRad="190500" algn="tl" rotWithShape="0">
              <a:srgbClr val="000000">
                <a:alpha val="70000"/>
              </a:srgbClr>
            </a:outerShdw>
          </a:effectLst>
        </p:spPr>
      </p:pic>
    </p:spTree>
    <p:extLst>
      <p:ext uri="{BB962C8B-B14F-4D97-AF65-F5344CB8AC3E}">
        <p14:creationId xmlns:p14="http://schemas.microsoft.com/office/powerpoint/2010/main" val="102402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421</Words>
  <Application>Microsoft Office PowerPoint</Application>
  <PresentationFormat>Widescreen</PresentationFormat>
  <Paragraphs>193</Paragraphs>
  <Slides>15</Slides>
  <Notes>15</Notes>
  <HiddenSlides>1</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5</vt:i4>
      </vt:variant>
    </vt:vector>
  </HeadingPairs>
  <TitlesOfParts>
    <vt:vector size="24" baseType="lpstr">
      <vt:lpstr>Arial</vt:lpstr>
      <vt:lpstr>Calibri</vt:lpstr>
      <vt:lpstr>Consolas</vt:lpstr>
      <vt:lpstr>Segoe UI</vt:lpstr>
      <vt:lpstr>Segoe UI Light</vt:lpstr>
      <vt:lpstr>Segoe UI Semibold</vt:lpstr>
      <vt:lpstr>Wingdings</vt:lpstr>
      <vt:lpstr>Microsoft 365 PPT Template - 2018</vt:lpstr>
      <vt:lpstr>1_Dark Blue</vt:lpstr>
      <vt:lpstr>Data Virtualization with PolyBase in SQL Server 2019 </vt:lpstr>
      <vt:lpstr>PowerPoint Presentation</vt:lpstr>
      <vt:lpstr>Upcoming SQL Talks</vt:lpstr>
      <vt:lpstr>Agenda</vt:lpstr>
      <vt:lpstr>What is Data Virtualization with PolyBase?</vt:lpstr>
      <vt:lpstr>Supported PolyBase Platforms</vt:lpstr>
      <vt:lpstr>Installing PolyBase</vt:lpstr>
      <vt:lpstr>PolyBase Configuration</vt:lpstr>
      <vt:lpstr>Installing Open Java</vt:lpstr>
      <vt:lpstr>Enable PolyBase</vt:lpstr>
      <vt:lpstr>Create Credentials</vt:lpstr>
      <vt:lpstr>Create External Objects</vt:lpstr>
      <vt:lpstr>Create External Table</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4-26T15: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